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9.xml" ContentType="application/vnd.openxmlformats-officedocument.presentationml.tags+xml"/>
  <Override PartName="/ppt/notesSlides/notesSlide1.xml" ContentType="application/vnd.openxmlformats-officedocument.presentationml.notesSlide+xml"/>
  <Override PartName="/ppt/tags/tag40.xml" ContentType="application/vnd.openxmlformats-officedocument.presentationml.tags+xml"/>
  <Override PartName="/ppt/notesSlides/notesSlide2.xml" ContentType="application/vnd.openxmlformats-officedocument.presentationml.notesSlide+xml"/>
  <Override PartName="/ppt/tags/tag41.xml" ContentType="application/vnd.openxmlformats-officedocument.presentationml.tags+xml"/>
  <Override PartName="/ppt/notesSlides/notesSlide3.xml" ContentType="application/vnd.openxmlformats-officedocument.presentationml.notesSl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4.xml" ContentType="application/vnd.openxmlformats-officedocument.presentationml.notesSlid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5.xml" ContentType="application/vnd.openxmlformats-officedocument.presentationml.notesSlide+xml"/>
  <Override PartName="/ppt/tags/tag46.xml" ContentType="application/vnd.openxmlformats-officedocument.presentationml.tags+xml"/>
  <Override PartName="/ppt/notesSlides/notesSlide6.xml" ContentType="application/vnd.openxmlformats-officedocument.presentationml.notesSlide+xml"/>
  <Override PartName="/ppt/tags/tag47.xml" ContentType="application/vnd.openxmlformats-officedocument.presentationml.tags+xml"/>
  <Override PartName="/ppt/notesSlides/notesSlide7.xml" ContentType="application/vnd.openxmlformats-officedocument.presentationml.notesSlid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8.xml" ContentType="application/vnd.openxmlformats-officedocument.presentationml.notesSlide+xml"/>
  <Override PartName="/ppt/tags/tag50.xml" ContentType="application/vnd.openxmlformats-officedocument.presentationml.tags+xml"/>
  <Override PartName="/ppt/notesSlides/notesSlide9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20"/>
  </p:notesMasterIdLst>
  <p:handoutMasterIdLst>
    <p:handoutMasterId r:id="rId21"/>
  </p:handoutMasterIdLst>
  <p:sldIdLst>
    <p:sldId id="256" r:id="rId5"/>
    <p:sldId id="2147472779" r:id="rId6"/>
    <p:sldId id="257" r:id="rId7"/>
    <p:sldId id="2147472775" r:id="rId8"/>
    <p:sldId id="2147472767" r:id="rId9"/>
    <p:sldId id="2147472768" r:id="rId10"/>
    <p:sldId id="2147472769" r:id="rId11"/>
    <p:sldId id="274" r:id="rId12"/>
    <p:sldId id="2147472772" r:id="rId13"/>
    <p:sldId id="2147472773" r:id="rId14"/>
    <p:sldId id="2147472777" r:id="rId15"/>
    <p:sldId id="2147472765" r:id="rId16"/>
    <p:sldId id="2147472774" r:id="rId17"/>
    <p:sldId id="2147472778" r:id="rId18"/>
    <p:sldId id="2147472771" r:id="rId19"/>
  </p:sldIdLst>
  <p:sldSz cx="12192000" cy="6858000"/>
  <p:notesSz cx="7104063" cy="10234613"/>
  <p:custDataLst>
    <p:tags r:id="rId2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sektion" id="{4FFA316D-2792-4C55-947D-6BABAF0F57B4}">
          <p14:sldIdLst>
            <p14:sldId id="256"/>
            <p14:sldId id="2147472779"/>
          </p14:sldIdLst>
        </p14:section>
        <p14:section name="VR deep dive" id="{914D5729-D9A4-4A19-86A3-BE55843D8B1C}">
          <p14:sldIdLst>
            <p14:sldId id="257"/>
            <p14:sldId id="2147472775"/>
            <p14:sldId id="2147472767"/>
            <p14:sldId id="2147472768"/>
            <p14:sldId id="2147472769"/>
            <p14:sldId id="274"/>
          </p14:sldIdLst>
        </p14:section>
        <p14:section name="Show it" id="{64D69902-F897-4BE5-AC0A-39ABA03F092B}">
          <p14:sldIdLst>
            <p14:sldId id="2147472772"/>
          </p14:sldIdLst>
        </p14:section>
        <p14:section name="Se fremad" id="{6E179CF6-1595-470D-8DC0-7ABCE8B4E2E3}">
          <p14:sldIdLst>
            <p14:sldId id="2147472773"/>
            <p14:sldId id="2147472777"/>
            <p14:sldId id="2147472765"/>
          </p14:sldIdLst>
        </p14:section>
        <p14:section name="Anvendelse i FSV og Q&amp;A" id="{13322096-F99A-41E9-972D-1A444098B59C}">
          <p14:sldIdLst>
            <p14:sldId id="2147472774"/>
            <p14:sldId id="2147472778"/>
            <p14:sldId id="2147472771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6" clrMode="bw" scaleToFitPaper="1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AD"/>
    <a:srgbClr val="FF3399"/>
    <a:srgbClr val="321850"/>
    <a:srgbClr val="ADA3B9"/>
    <a:srgbClr val="847496"/>
    <a:srgbClr val="5A4673"/>
    <a:srgbClr val="C6C6C6"/>
    <a:srgbClr val="FDE2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7211809-3D42-4717-9C23-68348750A6D2}" v="69" dt="2025-02-03T12:27:04.400"/>
  </p1510:revLst>
</p1510:revInfo>
</file>

<file path=ppt/tableStyles.xml><?xml version="1.0" encoding="utf-8"?>
<a:tblStyleLst xmlns:a="http://schemas.openxmlformats.org/drawingml/2006/main" def="{9D7B26C5-4107-4FEC-AEDC-1716B250A1EF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 w="12700" cmpd="sng">
              <a:solidFill>
                <a:schemeClr val="accent6"/>
              </a:solidFill>
            </a:ln>
          </a:top>
        </a:tcBdr>
      </a:tcStyle>
    </a:band1H>
    <a:band2H>
      <a:tcStyle>
        <a:tcBdr>
          <a:top>
            <a:ln w="12700" cmpd="sng">
              <a:solidFill>
                <a:schemeClr val="accent6"/>
              </a:solidFill>
            </a:ln>
          </a:top>
        </a:tcBdr>
      </a:tcStyle>
    </a:band2H>
    <a:band1V>
      <a:tcStyle>
        <a:tcBdr/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lastRow>
    <a:firstRow>
      <a:tcTxStyle>
        <a:fontRef idx="minor">
          <a:scrgbClr r="0" g="0" b="0"/>
        </a:fontRef>
        <a:schemeClr val="accent2"/>
      </a:tcTxStyle>
      <a:tcStyle>
        <a:tcBdr>
          <a:top>
            <a:ln w="0" cmpd="sng">
              <a:solidFill>
                <a:schemeClr val="accent2"/>
              </a:solidFill>
            </a:ln>
          </a:top>
          <a:bottom>
            <a:ln w="252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83549" autoAdjust="0"/>
  </p:normalViewPr>
  <p:slideViewPr>
    <p:cSldViewPr snapToGrid="0">
      <p:cViewPr varScale="1">
        <p:scale>
          <a:sx n="90" d="100"/>
          <a:sy n="90" d="100"/>
        </p:scale>
        <p:origin x="870" y="7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28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gs" Target="tags/tag1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alid El-Daoud, Sami" userId="7b326922-f7b5-43ce-bdd2-cbab948dcc7c" providerId="ADAL" clId="{1E6A4AD7-EA05-4464-9D3F-04140D0FBF8D}"/>
    <pc:docChg chg="undo custSel addSld delSld modSld">
      <pc:chgData name="Walid El-Daoud, Sami" userId="7b326922-f7b5-43ce-bdd2-cbab948dcc7c" providerId="ADAL" clId="{1E6A4AD7-EA05-4464-9D3F-04140D0FBF8D}" dt="2025-01-24T08:08:55.413" v="2528" actId="20577"/>
      <pc:docMkLst>
        <pc:docMk/>
      </pc:docMkLst>
      <pc:sldChg chg="addSp delSp modSp mod">
        <pc:chgData name="Walid El-Daoud, Sami" userId="7b326922-f7b5-43ce-bdd2-cbab948dcc7c" providerId="ADAL" clId="{1E6A4AD7-EA05-4464-9D3F-04140D0FBF8D}" dt="2025-01-24T07:19:30.310" v="81"/>
        <pc:sldMkLst>
          <pc:docMk/>
          <pc:sldMk cId="481042481" sldId="256"/>
        </pc:sldMkLst>
        <pc:spChg chg="mod">
          <ac:chgData name="Walid El-Daoud, Sami" userId="7b326922-f7b5-43ce-bdd2-cbab948dcc7c" providerId="ADAL" clId="{1E6A4AD7-EA05-4464-9D3F-04140D0FBF8D}" dt="2025-01-24T07:19:30.304" v="79" actId="948"/>
          <ac:spMkLst>
            <pc:docMk/>
            <pc:sldMk cId="481042481" sldId="256"/>
            <ac:spMk id="2" creationId="{520910E3-657B-6EB0-E497-81A32ED2E412}"/>
          </ac:spMkLst>
        </pc:spChg>
        <pc:spChg chg="add del mod modVis">
          <ac:chgData name="Walid El-Daoud, Sami" userId="7b326922-f7b5-43ce-bdd2-cbab948dcc7c" providerId="ADAL" clId="{1E6A4AD7-EA05-4464-9D3F-04140D0FBF8D}" dt="2025-01-24T07:19:23.714" v="45" actId="962"/>
          <ac:spMkLst>
            <pc:docMk/>
            <pc:sldMk cId="481042481" sldId="256"/>
            <ac:spMk id="5" creationId="{FB175577-6EEC-5A7F-C0A7-59007B962C48}"/>
          </ac:spMkLst>
        </pc:spChg>
        <pc:spChg chg="add del mod modVis">
          <ac:chgData name="Walid El-Daoud, Sami" userId="7b326922-f7b5-43ce-bdd2-cbab948dcc7c" providerId="ADAL" clId="{1E6A4AD7-EA05-4464-9D3F-04140D0FBF8D}" dt="2025-01-24T07:19:26.619" v="75"/>
          <ac:spMkLst>
            <pc:docMk/>
            <pc:sldMk cId="481042481" sldId="256"/>
            <ac:spMk id="7" creationId="{68E1AF7B-F490-A19D-83BA-6F223ACC20AA}"/>
          </ac:spMkLst>
        </pc:spChg>
        <pc:graphicFrameChg chg="mod">
          <ac:chgData name="Walid El-Daoud, Sami" userId="7b326922-f7b5-43ce-bdd2-cbab948dcc7c" providerId="ADAL" clId="{1E6A4AD7-EA05-4464-9D3F-04140D0FBF8D}" dt="2025-01-24T07:19:30.310" v="81"/>
          <ac:graphicFrameMkLst>
            <pc:docMk/>
            <pc:sldMk cId="481042481" sldId="256"/>
            <ac:graphicFrameMk id="6" creationId="{CAC42BB6-F905-9DCE-0C4A-1497682E99D5}"/>
          </ac:graphicFrameMkLst>
        </pc:graphicFrameChg>
      </pc:sldChg>
      <pc:sldChg chg="modSp add mod modNotesTx">
        <pc:chgData name="Walid El-Daoud, Sami" userId="7b326922-f7b5-43ce-bdd2-cbab948dcc7c" providerId="ADAL" clId="{1E6A4AD7-EA05-4464-9D3F-04140D0FBF8D}" dt="2025-01-24T08:01:38.838" v="2097" actId="20577"/>
        <pc:sldMkLst>
          <pc:docMk/>
          <pc:sldMk cId="230524325" sldId="257"/>
        </pc:sldMkLst>
        <pc:spChg chg="mod">
          <ac:chgData name="Walid El-Daoud, Sami" userId="7b326922-f7b5-43ce-bdd2-cbab948dcc7c" providerId="ADAL" clId="{1E6A4AD7-EA05-4464-9D3F-04140D0FBF8D}" dt="2025-01-24T08:00:36.398" v="2000" actId="6549"/>
          <ac:spMkLst>
            <pc:docMk/>
            <pc:sldMk cId="230524325" sldId="257"/>
            <ac:spMk id="38" creationId="{B35B4E8E-A46E-B15A-6F8E-8427CA62D85D}"/>
          </ac:spMkLst>
        </pc:spChg>
        <pc:cxnChg chg="mod">
          <ac:chgData name="Walid El-Daoud, Sami" userId="7b326922-f7b5-43ce-bdd2-cbab948dcc7c" providerId="ADAL" clId="{1E6A4AD7-EA05-4464-9D3F-04140D0FBF8D}" dt="2025-01-24T07:20:16.484" v="84" actId="14100"/>
          <ac:cxnSpMkLst>
            <pc:docMk/>
            <pc:sldMk cId="230524325" sldId="257"/>
            <ac:cxnSpMk id="10" creationId="{7E1F234D-09FC-6A3D-1ADB-54AD26135AD6}"/>
          </ac:cxnSpMkLst>
        </pc:cxnChg>
      </pc:sldChg>
      <pc:sldChg chg="add">
        <pc:chgData name="Walid El-Daoud, Sami" userId="7b326922-f7b5-43ce-bdd2-cbab948dcc7c" providerId="ADAL" clId="{1E6A4AD7-EA05-4464-9D3F-04140D0FBF8D}" dt="2025-01-24T08:04:42.356" v="2102"/>
        <pc:sldMkLst>
          <pc:docMk/>
          <pc:sldMk cId="567463024" sldId="271"/>
        </pc:sldMkLst>
      </pc:sldChg>
      <pc:sldChg chg="addSp delSp modSp mod modNotesTx">
        <pc:chgData name="Walid El-Daoud, Sami" userId="7b326922-f7b5-43ce-bdd2-cbab948dcc7c" providerId="ADAL" clId="{1E6A4AD7-EA05-4464-9D3F-04140D0FBF8D}" dt="2025-01-24T08:08:55.413" v="2528" actId="20577"/>
        <pc:sldMkLst>
          <pc:docMk/>
          <pc:sldMk cId="1128903937" sldId="274"/>
        </pc:sldMkLst>
        <pc:spChg chg="mod">
          <ac:chgData name="Walid El-Daoud, Sami" userId="7b326922-f7b5-43ce-bdd2-cbab948dcc7c" providerId="ADAL" clId="{1E6A4AD7-EA05-4464-9D3F-04140D0FBF8D}" dt="2025-01-24T08:00:20.454" v="1965" actId="948"/>
          <ac:spMkLst>
            <pc:docMk/>
            <pc:sldMk cId="1128903937" sldId="274"/>
            <ac:spMk id="2" creationId="{289E23F2-3FD0-2FF1-D6B1-707861013CCC}"/>
          </ac:spMkLst>
        </pc:spChg>
        <pc:spChg chg="mod">
          <ac:chgData name="Walid El-Daoud, Sami" userId="7b326922-f7b5-43ce-bdd2-cbab948dcc7c" providerId="ADAL" clId="{1E6A4AD7-EA05-4464-9D3F-04140D0FBF8D}" dt="2025-01-24T07:25:57.771" v="461" actId="20577"/>
          <ac:spMkLst>
            <pc:docMk/>
            <pc:sldMk cId="1128903937" sldId="274"/>
            <ac:spMk id="11" creationId="{24153302-8ADC-C47D-F011-85438C9C0AE9}"/>
          </ac:spMkLst>
        </pc:spChg>
        <pc:spChg chg="mod">
          <ac:chgData name="Walid El-Daoud, Sami" userId="7b326922-f7b5-43ce-bdd2-cbab948dcc7c" providerId="ADAL" clId="{1E6A4AD7-EA05-4464-9D3F-04140D0FBF8D}" dt="2025-01-24T08:08:55.413" v="2528" actId="20577"/>
          <ac:spMkLst>
            <pc:docMk/>
            <pc:sldMk cId="1128903937" sldId="274"/>
            <ac:spMk id="12" creationId="{A8D440C2-3E84-4FCE-0308-F7F6C6821A5C}"/>
          </ac:spMkLst>
        </pc:spChg>
        <pc:spChg chg="mod">
          <ac:chgData name="Walid El-Daoud, Sami" userId="7b326922-f7b5-43ce-bdd2-cbab948dcc7c" providerId="ADAL" clId="{1E6A4AD7-EA05-4464-9D3F-04140D0FBF8D}" dt="2025-01-24T08:08:48.468" v="2526" actId="20577"/>
          <ac:spMkLst>
            <pc:docMk/>
            <pc:sldMk cId="1128903937" sldId="274"/>
            <ac:spMk id="13" creationId="{FA4B3D9D-2673-C6B5-B603-5A9AC5813DD4}"/>
          </ac:spMkLst>
        </pc:spChg>
        <pc:spChg chg="mod">
          <ac:chgData name="Walid El-Daoud, Sami" userId="7b326922-f7b5-43ce-bdd2-cbab948dcc7c" providerId="ADAL" clId="{1E6A4AD7-EA05-4464-9D3F-04140D0FBF8D}" dt="2025-01-24T07:23:27.612" v="237"/>
          <ac:spMkLst>
            <pc:docMk/>
            <pc:sldMk cId="1128903937" sldId="274"/>
            <ac:spMk id="15" creationId="{2432A0C7-8CA0-2AC7-CB7F-1ABB42E45513}"/>
          </ac:spMkLst>
        </pc:spChg>
        <pc:spChg chg="add">
          <ac:chgData name="Walid El-Daoud, Sami" userId="7b326922-f7b5-43ce-bdd2-cbab948dcc7c" providerId="ADAL" clId="{1E6A4AD7-EA05-4464-9D3F-04140D0FBF8D}" dt="2025-01-24T07:23:15.547" v="234"/>
          <ac:spMkLst>
            <pc:docMk/>
            <pc:sldMk cId="1128903937" sldId="274"/>
            <ac:spMk id="17" creationId="{B0825326-A27C-DFB0-3D35-EDA60CDD1CDE}"/>
          </ac:spMkLst>
        </pc:spChg>
        <pc:spChg chg="add">
          <ac:chgData name="Walid El-Daoud, Sami" userId="7b326922-f7b5-43ce-bdd2-cbab948dcc7c" providerId="ADAL" clId="{1E6A4AD7-EA05-4464-9D3F-04140D0FBF8D}" dt="2025-01-24T07:23:20.263" v="235"/>
          <ac:spMkLst>
            <pc:docMk/>
            <pc:sldMk cId="1128903937" sldId="274"/>
            <ac:spMk id="18" creationId="{EA0B182D-0FF1-8A01-8039-7AACCDDB76C3}"/>
          </ac:spMkLst>
        </pc:spChg>
        <pc:spChg chg="add del">
          <ac:chgData name="Walid El-Daoud, Sami" userId="7b326922-f7b5-43ce-bdd2-cbab948dcc7c" providerId="ADAL" clId="{1E6A4AD7-EA05-4464-9D3F-04140D0FBF8D}" dt="2025-01-24T07:26:41.106" v="463" actId="478"/>
          <ac:spMkLst>
            <pc:docMk/>
            <pc:sldMk cId="1128903937" sldId="274"/>
            <ac:spMk id="19" creationId="{B2CD1430-6598-E636-2251-3219C43D3590}"/>
          </ac:spMkLst>
        </pc:spChg>
        <pc:spChg chg="add del mod modVis">
          <ac:chgData name="Walid El-Daoud, Sami" userId="7b326922-f7b5-43ce-bdd2-cbab948dcc7c" providerId="ADAL" clId="{1E6A4AD7-EA05-4464-9D3F-04140D0FBF8D}" dt="2025-01-24T08:00:12.873" v="1817"/>
          <ac:spMkLst>
            <pc:docMk/>
            <pc:sldMk cId="1128903937" sldId="274"/>
            <ac:spMk id="20" creationId="{44C92A76-5D0D-110E-D4E4-BFE2270F4848}"/>
          </ac:spMkLst>
        </pc:spChg>
        <pc:spChg chg="add del mod modVis">
          <ac:chgData name="Walid El-Daoud, Sami" userId="7b326922-f7b5-43ce-bdd2-cbab948dcc7c" providerId="ADAL" clId="{1E6A4AD7-EA05-4464-9D3F-04140D0FBF8D}" dt="2025-01-24T08:00:14.205" v="1847"/>
          <ac:spMkLst>
            <pc:docMk/>
            <pc:sldMk cId="1128903937" sldId="274"/>
            <ac:spMk id="21" creationId="{EFBCC835-E207-C103-F514-27C7484A65FA}"/>
          </ac:spMkLst>
        </pc:spChg>
        <pc:spChg chg="add del mod modVis">
          <ac:chgData name="Walid El-Daoud, Sami" userId="7b326922-f7b5-43ce-bdd2-cbab948dcc7c" providerId="ADAL" clId="{1E6A4AD7-EA05-4464-9D3F-04140D0FBF8D}" dt="2025-01-24T08:00:15.796" v="1877"/>
          <ac:spMkLst>
            <pc:docMk/>
            <pc:sldMk cId="1128903937" sldId="274"/>
            <ac:spMk id="22" creationId="{5EC00F1F-9171-D668-06B6-DEE9F02AC9CE}"/>
          </ac:spMkLst>
        </pc:spChg>
        <pc:spChg chg="add del mod modVis">
          <ac:chgData name="Walid El-Daoud, Sami" userId="7b326922-f7b5-43ce-bdd2-cbab948dcc7c" providerId="ADAL" clId="{1E6A4AD7-EA05-4464-9D3F-04140D0FBF8D}" dt="2025-01-24T08:00:18.177" v="1906"/>
          <ac:spMkLst>
            <pc:docMk/>
            <pc:sldMk cId="1128903937" sldId="274"/>
            <ac:spMk id="23" creationId="{F8AC10FD-511C-1C05-0323-C846A831C049}"/>
          </ac:spMkLst>
        </pc:spChg>
        <pc:spChg chg="add del mod modVis">
          <ac:chgData name="Walid El-Daoud, Sami" userId="7b326922-f7b5-43ce-bdd2-cbab948dcc7c" providerId="ADAL" clId="{1E6A4AD7-EA05-4464-9D3F-04140D0FBF8D}" dt="2025-01-24T08:00:18.843" v="1932"/>
          <ac:spMkLst>
            <pc:docMk/>
            <pc:sldMk cId="1128903937" sldId="274"/>
            <ac:spMk id="29" creationId="{3AA8D8E9-49A0-07D0-CFB0-CBDDF9BAD8ED}"/>
          </ac:spMkLst>
        </pc:spChg>
        <pc:spChg chg="add del mod modVis">
          <ac:chgData name="Walid El-Daoud, Sami" userId="7b326922-f7b5-43ce-bdd2-cbab948dcc7c" providerId="ADAL" clId="{1E6A4AD7-EA05-4464-9D3F-04140D0FBF8D}" dt="2025-01-24T08:00:19.848" v="1961"/>
          <ac:spMkLst>
            <pc:docMk/>
            <pc:sldMk cId="1128903937" sldId="274"/>
            <ac:spMk id="30" creationId="{4745037D-62F6-99EC-6998-4D9C9F432377}"/>
          </ac:spMkLst>
        </pc:spChg>
        <pc:spChg chg="add del mod modVis">
          <ac:chgData name="Walid El-Daoud, Sami" userId="7b326922-f7b5-43ce-bdd2-cbab948dcc7c" providerId="ADAL" clId="{1E6A4AD7-EA05-4464-9D3F-04140D0FBF8D}" dt="2025-01-24T08:00:20.477" v="1987"/>
          <ac:spMkLst>
            <pc:docMk/>
            <pc:sldMk cId="1128903937" sldId="274"/>
            <ac:spMk id="31" creationId="{6BFF71D7-E3B2-78D1-1036-9E7C72C110AB}"/>
          </ac:spMkLst>
        </pc:spChg>
        <pc:spChg chg="mod">
          <ac:chgData name="Walid El-Daoud, Sami" userId="7b326922-f7b5-43ce-bdd2-cbab948dcc7c" providerId="ADAL" clId="{1E6A4AD7-EA05-4464-9D3F-04140D0FBF8D}" dt="2025-01-24T07:22:46.998" v="233" actId="20577"/>
          <ac:spMkLst>
            <pc:docMk/>
            <pc:sldMk cId="1128903937" sldId="274"/>
            <ac:spMk id="40" creationId="{132CAD3B-EE1D-08BA-0791-E29E22F0D00F}"/>
          </ac:spMkLst>
        </pc:spChg>
        <pc:graphicFrameChg chg="mod">
          <ac:chgData name="Walid El-Daoud, Sami" userId="7b326922-f7b5-43ce-bdd2-cbab948dcc7c" providerId="ADAL" clId="{1E6A4AD7-EA05-4464-9D3F-04140D0FBF8D}" dt="2025-01-24T08:00:20.478" v="1989"/>
          <ac:graphicFrameMkLst>
            <pc:docMk/>
            <pc:sldMk cId="1128903937" sldId="274"/>
            <ac:graphicFrameMk id="7" creationId="{BD07FA8C-5C80-70B6-1294-A9D1850507E7}"/>
          </ac:graphicFrameMkLst>
        </pc:graphicFrameChg>
      </pc:sldChg>
      <pc:sldChg chg="del">
        <pc:chgData name="Walid El-Daoud, Sami" userId="7b326922-f7b5-43ce-bdd2-cbab948dcc7c" providerId="ADAL" clId="{1E6A4AD7-EA05-4464-9D3F-04140D0FBF8D}" dt="2025-01-24T07:48:25.179" v="1743" actId="47"/>
        <pc:sldMkLst>
          <pc:docMk/>
          <pc:sldMk cId="2545248484" sldId="2147472762"/>
        </pc:sldMkLst>
      </pc:sldChg>
      <pc:sldChg chg="addSp delSp modSp add mod modNotesTx">
        <pc:chgData name="Walid El-Daoud, Sami" userId="7b326922-f7b5-43ce-bdd2-cbab948dcc7c" providerId="ADAL" clId="{1E6A4AD7-EA05-4464-9D3F-04140D0FBF8D}" dt="2025-01-24T08:03:47.749" v="2101"/>
        <pc:sldMkLst>
          <pc:docMk/>
          <pc:sldMk cId="2219639758" sldId="2147472768"/>
        </pc:sldMkLst>
        <pc:spChg chg="mod">
          <ac:chgData name="Walid El-Daoud, Sami" userId="7b326922-f7b5-43ce-bdd2-cbab948dcc7c" providerId="ADAL" clId="{1E6A4AD7-EA05-4464-9D3F-04140D0FBF8D}" dt="2025-01-24T07:48:17.202" v="1712" actId="948"/>
          <ac:spMkLst>
            <pc:docMk/>
            <pc:sldMk cId="2219639758" sldId="2147472768"/>
            <ac:spMk id="2" creationId="{943F12EC-B89A-488B-ADD6-ED1F3934E273}"/>
          </ac:spMkLst>
        </pc:spChg>
        <pc:spChg chg="add del mod modVis">
          <ac:chgData name="Walid El-Daoud, Sami" userId="7b326922-f7b5-43ce-bdd2-cbab948dcc7c" providerId="ADAL" clId="{1E6A4AD7-EA05-4464-9D3F-04140D0FBF8D}" dt="2025-01-24T07:47:52.081" v="1418"/>
          <ac:spMkLst>
            <pc:docMk/>
            <pc:sldMk cId="2219639758" sldId="2147472768"/>
            <ac:spMk id="3" creationId="{200613B8-3E6C-7CE0-58EF-F00AC85571D1}"/>
          </ac:spMkLst>
        </pc:spChg>
        <pc:spChg chg="add del mod modVis">
          <ac:chgData name="Walid El-Daoud, Sami" userId="7b326922-f7b5-43ce-bdd2-cbab948dcc7c" providerId="ADAL" clId="{1E6A4AD7-EA05-4464-9D3F-04140D0FBF8D}" dt="2025-01-24T07:47:55.199" v="1450"/>
          <ac:spMkLst>
            <pc:docMk/>
            <pc:sldMk cId="2219639758" sldId="2147472768"/>
            <ac:spMk id="5" creationId="{26D2CB8F-1B09-A35B-EAEE-6DB5D29E9360}"/>
          </ac:spMkLst>
        </pc:spChg>
        <pc:spChg chg="add del mod modVis">
          <ac:chgData name="Walid El-Daoud, Sami" userId="7b326922-f7b5-43ce-bdd2-cbab948dcc7c" providerId="ADAL" clId="{1E6A4AD7-EA05-4464-9D3F-04140D0FBF8D}" dt="2025-01-24T07:47:57.338" v="1489"/>
          <ac:spMkLst>
            <pc:docMk/>
            <pc:sldMk cId="2219639758" sldId="2147472768"/>
            <ac:spMk id="8" creationId="{12DB70BF-2832-0BAE-D093-DB5314B2B6F9}"/>
          </ac:spMkLst>
        </pc:spChg>
        <pc:spChg chg="mod">
          <ac:chgData name="Walid El-Daoud, Sami" userId="7b326922-f7b5-43ce-bdd2-cbab948dcc7c" providerId="ADAL" clId="{1E6A4AD7-EA05-4464-9D3F-04140D0FBF8D}" dt="2025-01-24T07:50:01.907" v="1791" actId="1076"/>
          <ac:spMkLst>
            <pc:docMk/>
            <pc:sldMk cId="2219639758" sldId="2147472768"/>
            <ac:spMk id="9" creationId="{1BACC8DB-4B34-C45E-15C1-934F9731D6BF}"/>
          </ac:spMkLst>
        </pc:spChg>
        <pc:spChg chg="mod">
          <ac:chgData name="Walid El-Daoud, Sami" userId="7b326922-f7b5-43ce-bdd2-cbab948dcc7c" providerId="ADAL" clId="{1E6A4AD7-EA05-4464-9D3F-04140D0FBF8D}" dt="2025-01-24T07:50:01.907" v="1791" actId="1076"/>
          <ac:spMkLst>
            <pc:docMk/>
            <pc:sldMk cId="2219639758" sldId="2147472768"/>
            <ac:spMk id="10" creationId="{6C697F5E-B624-A89F-2120-A253CA91CBBA}"/>
          </ac:spMkLst>
        </pc:spChg>
        <pc:spChg chg="add del mod modVis">
          <ac:chgData name="Walid El-Daoud, Sami" userId="7b326922-f7b5-43ce-bdd2-cbab948dcc7c" providerId="ADAL" clId="{1E6A4AD7-EA05-4464-9D3F-04140D0FBF8D}" dt="2025-01-24T07:47:59.478" v="1524"/>
          <ac:spMkLst>
            <pc:docMk/>
            <pc:sldMk cId="2219639758" sldId="2147472768"/>
            <ac:spMk id="13" creationId="{8747598A-4D33-EBCC-4462-7113A9A4D5EF}"/>
          </ac:spMkLst>
        </pc:spChg>
        <pc:spChg chg="add del mod modVis">
          <ac:chgData name="Walid El-Daoud, Sami" userId="7b326922-f7b5-43ce-bdd2-cbab948dcc7c" providerId="ADAL" clId="{1E6A4AD7-EA05-4464-9D3F-04140D0FBF8D}" dt="2025-01-24T07:47:59.723" v="1557"/>
          <ac:spMkLst>
            <pc:docMk/>
            <pc:sldMk cId="2219639758" sldId="2147472768"/>
            <ac:spMk id="14" creationId="{05EC1517-4E80-AFCC-692C-CE2DF305D933}"/>
          </ac:spMkLst>
        </pc:spChg>
        <pc:spChg chg="add del mod modVis">
          <ac:chgData name="Walid El-Daoud, Sami" userId="7b326922-f7b5-43ce-bdd2-cbab948dcc7c" providerId="ADAL" clId="{1E6A4AD7-EA05-4464-9D3F-04140D0FBF8D}" dt="2025-01-24T07:48:00.469" v="1590"/>
          <ac:spMkLst>
            <pc:docMk/>
            <pc:sldMk cId="2219639758" sldId="2147472768"/>
            <ac:spMk id="15" creationId="{3A5FEB27-2714-701F-44E3-5BB63053C2C0}"/>
          </ac:spMkLst>
        </pc:spChg>
        <pc:spChg chg="add del mod modVis">
          <ac:chgData name="Walid El-Daoud, Sami" userId="7b326922-f7b5-43ce-bdd2-cbab948dcc7c" providerId="ADAL" clId="{1E6A4AD7-EA05-4464-9D3F-04140D0FBF8D}" dt="2025-01-24T07:48:10.444" v="1630"/>
          <ac:spMkLst>
            <pc:docMk/>
            <pc:sldMk cId="2219639758" sldId="2147472768"/>
            <ac:spMk id="16" creationId="{FA309B18-D9EC-2A55-4568-0A812C116765}"/>
          </ac:spMkLst>
        </pc:spChg>
        <pc:spChg chg="add del mod modVis">
          <ac:chgData name="Walid El-Daoud, Sami" userId="7b326922-f7b5-43ce-bdd2-cbab948dcc7c" providerId="ADAL" clId="{1E6A4AD7-EA05-4464-9D3F-04140D0FBF8D}" dt="2025-01-24T07:48:12.070" v="1667"/>
          <ac:spMkLst>
            <pc:docMk/>
            <pc:sldMk cId="2219639758" sldId="2147472768"/>
            <ac:spMk id="17" creationId="{7DA35C91-2A37-7C03-6B25-B2E153633C14}"/>
          </ac:spMkLst>
        </pc:spChg>
        <pc:spChg chg="add del mod modVis">
          <ac:chgData name="Walid El-Daoud, Sami" userId="7b326922-f7b5-43ce-bdd2-cbab948dcc7c" providerId="ADAL" clId="{1E6A4AD7-EA05-4464-9D3F-04140D0FBF8D}" dt="2025-01-24T07:48:15.748" v="1704"/>
          <ac:spMkLst>
            <pc:docMk/>
            <pc:sldMk cId="2219639758" sldId="2147472768"/>
            <ac:spMk id="18" creationId="{87D2C62A-8FE8-2382-143E-41FD6AD42756}"/>
          </ac:spMkLst>
        </pc:spChg>
        <pc:spChg chg="mod">
          <ac:chgData name="Walid El-Daoud, Sami" userId="7b326922-f7b5-43ce-bdd2-cbab948dcc7c" providerId="ADAL" clId="{1E6A4AD7-EA05-4464-9D3F-04140D0FBF8D}" dt="2025-01-24T08:03:45.890" v="2098" actId="6549"/>
          <ac:spMkLst>
            <pc:docMk/>
            <pc:sldMk cId="2219639758" sldId="2147472768"/>
            <ac:spMk id="19" creationId="{9722A4F4-B91E-4658-A6BA-EC769529692F}"/>
          </ac:spMkLst>
        </pc:spChg>
        <pc:spChg chg="mod">
          <ac:chgData name="Walid El-Daoud, Sami" userId="7b326922-f7b5-43ce-bdd2-cbab948dcc7c" providerId="ADAL" clId="{1E6A4AD7-EA05-4464-9D3F-04140D0FBF8D}" dt="2025-01-24T07:50:01.907" v="1791" actId="1076"/>
          <ac:spMkLst>
            <pc:docMk/>
            <pc:sldMk cId="2219639758" sldId="2147472768"/>
            <ac:spMk id="20" creationId="{13C59683-0254-4392-9321-752F8DD7B2D6}"/>
          </ac:spMkLst>
        </pc:spChg>
        <pc:spChg chg="del">
          <ac:chgData name="Walid El-Daoud, Sami" userId="7b326922-f7b5-43ce-bdd2-cbab948dcc7c" providerId="ADAL" clId="{1E6A4AD7-EA05-4464-9D3F-04140D0FBF8D}" dt="2025-01-24T07:49:11.965" v="1744" actId="478"/>
          <ac:spMkLst>
            <pc:docMk/>
            <pc:sldMk cId="2219639758" sldId="2147472768"/>
            <ac:spMk id="21" creationId="{2CB81295-F565-400D-BD51-5439DC279CAB}"/>
          </ac:spMkLst>
        </pc:spChg>
        <pc:spChg chg="mod">
          <ac:chgData name="Walid El-Daoud, Sami" userId="7b326922-f7b5-43ce-bdd2-cbab948dcc7c" providerId="ADAL" clId="{1E6A4AD7-EA05-4464-9D3F-04140D0FBF8D}" dt="2025-01-24T07:50:01.907" v="1791" actId="1076"/>
          <ac:spMkLst>
            <pc:docMk/>
            <pc:sldMk cId="2219639758" sldId="2147472768"/>
            <ac:spMk id="22" creationId="{DB5226ED-DAF7-4867-B65E-7A4A949E4AB9}"/>
          </ac:spMkLst>
        </pc:spChg>
        <pc:spChg chg="mod">
          <ac:chgData name="Walid El-Daoud, Sami" userId="7b326922-f7b5-43ce-bdd2-cbab948dcc7c" providerId="ADAL" clId="{1E6A4AD7-EA05-4464-9D3F-04140D0FBF8D}" dt="2025-01-24T07:50:01.907" v="1791" actId="1076"/>
          <ac:spMkLst>
            <pc:docMk/>
            <pc:sldMk cId="2219639758" sldId="2147472768"/>
            <ac:spMk id="23" creationId="{BFB97966-5898-4D66-B937-548ED7B3A006}"/>
          </ac:spMkLst>
        </pc:spChg>
        <pc:spChg chg="mod">
          <ac:chgData name="Walid El-Daoud, Sami" userId="7b326922-f7b5-43ce-bdd2-cbab948dcc7c" providerId="ADAL" clId="{1E6A4AD7-EA05-4464-9D3F-04140D0FBF8D}" dt="2025-01-24T07:50:01.907" v="1791" actId="1076"/>
          <ac:spMkLst>
            <pc:docMk/>
            <pc:sldMk cId="2219639758" sldId="2147472768"/>
            <ac:spMk id="24" creationId="{E15EF1A6-B9E0-47BC-A3A2-1002B9C9274A}"/>
          </ac:spMkLst>
        </pc:spChg>
        <pc:spChg chg="add del mod modVis">
          <ac:chgData name="Walid El-Daoud, Sami" userId="7b326922-f7b5-43ce-bdd2-cbab948dcc7c" providerId="ADAL" clId="{1E6A4AD7-EA05-4464-9D3F-04140D0FBF8D}" dt="2025-01-24T07:48:17.237" v="1740"/>
          <ac:spMkLst>
            <pc:docMk/>
            <pc:sldMk cId="2219639758" sldId="2147472768"/>
            <ac:spMk id="25" creationId="{02EBB592-A65C-BE68-96A2-26BF3F57CAC1}"/>
          </ac:spMkLst>
        </pc:spChg>
        <pc:spChg chg="del mod">
          <ac:chgData name="Walid El-Daoud, Sami" userId="7b326922-f7b5-43ce-bdd2-cbab948dcc7c" providerId="ADAL" clId="{1E6A4AD7-EA05-4464-9D3F-04140D0FBF8D}" dt="2025-01-24T08:03:47.749" v="2101"/>
          <ac:spMkLst>
            <pc:docMk/>
            <pc:sldMk cId="2219639758" sldId="2147472768"/>
            <ac:spMk id="28" creationId="{52C37698-27E2-C5E4-81D1-30FD20B379B8}"/>
          </ac:spMkLst>
        </pc:spChg>
        <pc:spChg chg="mod">
          <ac:chgData name="Walid El-Daoud, Sami" userId="7b326922-f7b5-43ce-bdd2-cbab948dcc7c" providerId="ADAL" clId="{1E6A4AD7-EA05-4464-9D3F-04140D0FBF8D}" dt="2025-01-24T07:50:01.907" v="1791" actId="1076"/>
          <ac:spMkLst>
            <pc:docMk/>
            <pc:sldMk cId="2219639758" sldId="2147472768"/>
            <ac:spMk id="29" creationId="{AEECD89D-92BA-08BE-DD88-99B14B022898}"/>
          </ac:spMkLst>
        </pc:spChg>
        <pc:spChg chg="del">
          <ac:chgData name="Walid El-Daoud, Sami" userId="7b326922-f7b5-43ce-bdd2-cbab948dcc7c" providerId="ADAL" clId="{1E6A4AD7-EA05-4464-9D3F-04140D0FBF8D}" dt="2025-01-24T07:49:13.811" v="1745" actId="478"/>
          <ac:spMkLst>
            <pc:docMk/>
            <pc:sldMk cId="2219639758" sldId="2147472768"/>
            <ac:spMk id="30" creationId="{6E6419DC-6120-216C-45AB-BF0FD040A3F0}"/>
          </ac:spMkLst>
        </pc:spChg>
        <pc:spChg chg="mod">
          <ac:chgData name="Walid El-Daoud, Sami" userId="7b326922-f7b5-43ce-bdd2-cbab948dcc7c" providerId="ADAL" clId="{1E6A4AD7-EA05-4464-9D3F-04140D0FBF8D}" dt="2025-01-24T07:50:01.907" v="1791" actId="1076"/>
          <ac:spMkLst>
            <pc:docMk/>
            <pc:sldMk cId="2219639758" sldId="2147472768"/>
            <ac:spMk id="31" creationId="{48C6DBB3-8682-A980-44EB-97F12DE2A377}"/>
          </ac:spMkLst>
        </pc:spChg>
        <pc:spChg chg="mod">
          <ac:chgData name="Walid El-Daoud, Sami" userId="7b326922-f7b5-43ce-bdd2-cbab948dcc7c" providerId="ADAL" clId="{1E6A4AD7-EA05-4464-9D3F-04140D0FBF8D}" dt="2025-01-24T07:50:01.907" v="1791" actId="1076"/>
          <ac:spMkLst>
            <pc:docMk/>
            <pc:sldMk cId="2219639758" sldId="2147472768"/>
            <ac:spMk id="32" creationId="{15296B4C-0297-F0EE-570B-29E88C1DA979}"/>
          </ac:spMkLst>
        </pc:spChg>
        <pc:spChg chg="mod">
          <ac:chgData name="Walid El-Daoud, Sami" userId="7b326922-f7b5-43ce-bdd2-cbab948dcc7c" providerId="ADAL" clId="{1E6A4AD7-EA05-4464-9D3F-04140D0FBF8D}" dt="2025-01-24T07:50:01.907" v="1791" actId="1076"/>
          <ac:spMkLst>
            <pc:docMk/>
            <pc:sldMk cId="2219639758" sldId="2147472768"/>
            <ac:spMk id="33" creationId="{32D1CFDC-1DBE-EF7F-E5B9-6B85B8B3C1BB}"/>
          </ac:spMkLst>
        </pc:spChg>
        <pc:graphicFrameChg chg="mod">
          <ac:chgData name="Walid El-Daoud, Sami" userId="7b326922-f7b5-43ce-bdd2-cbab948dcc7c" providerId="ADAL" clId="{1E6A4AD7-EA05-4464-9D3F-04140D0FBF8D}" dt="2025-01-24T07:48:17.238" v="1742"/>
          <ac:graphicFrameMkLst>
            <pc:docMk/>
            <pc:sldMk cId="2219639758" sldId="2147472768"/>
            <ac:graphicFrameMk id="6" creationId="{D18B4609-6EC4-43EF-9E65-8179D9E8357C}"/>
          </ac:graphicFrameMkLst>
        </pc:graphicFrameChg>
        <pc:picChg chg="mod">
          <ac:chgData name="Walid El-Daoud, Sami" userId="7b326922-f7b5-43ce-bdd2-cbab948dcc7c" providerId="ADAL" clId="{1E6A4AD7-EA05-4464-9D3F-04140D0FBF8D}" dt="2025-01-24T07:34:48.938" v="993" actId="1076"/>
          <ac:picMkLst>
            <pc:docMk/>
            <pc:sldMk cId="2219639758" sldId="2147472768"/>
            <ac:picMk id="4" creationId="{BBDB637E-9D0A-180F-A6EF-FD5D72979B68}"/>
          </ac:picMkLst>
        </pc:picChg>
        <pc:cxnChg chg="mod">
          <ac:chgData name="Walid El-Daoud, Sami" userId="7b326922-f7b5-43ce-bdd2-cbab948dcc7c" providerId="ADAL" clId="{1E6A4AD7-EA05-4464-9D3F-04140D0FBF8D}" dt="2025-01-24T07:50:01.907" v="1791" actId="1076"/>
          <ac:cxnSpMkLst>
            <pc:docMk/>
            <pc:sldMk cId="2219639758" sldId="2147472768"/>
            <ac:cxnSpMk id="7" creationId="{5F87C8A9-2D7A-4C7B-9D36-76C85476C9BE}"/>
          </ac:cxnSpMkLst>
        </pc:cxnChg>
        <pc:cxnChg chg="mod">
          <ac:chgData name="Walid El-Daoud, Sami" userId="7b326922-f7b5-43ce-bdd2-cbab948dcc7c" providerId="ADAL" clId="{1E6A4AD7-EA05-4464-9D3F-04140D0FBF8D}" dt="2025-01-24T07:50:01.907" v="1791" actId="1076"/>
          <ac:cxnSpMkLst>
            <pc:docMk/>
            <pc:sldMk cId="2219639758" sldId="2147472768"/>
            <ac:cxnSpMk id="11" creationId="{277A3E28-5526-2906-7B40-EAC04B5639F4}"/>
          </ac:cxnSpMkLst>
        </pc:cxnChg>
        <pc:cxnChg chg="mod">
          <ac:chgData name="Walid El-Daoud, Sami" userId="7b326922-f7b5-43ce-bdd2-cbab948dcc7c" providerId="ADAL" clId="{1E6A4AD7-EA05-4464-9D3F-04140D0FBF8D}" dt="2025-01-24T07:50:01.907" v="1791" actId="1076"/>
          <ac:cxnSpMkLst>
            <pc:docMk/>
            <pc:sldMk cId="2219639758" sldId="2147472768"/>
            <ac:cxnSpMk id="35" creationId="{1D283755-6E14-5ABB-AF87-7A52D941595E}"/>
          </ac:cxnSpMkLst>
        </pc:cxnChg>
        <pc:cxnChg chg="mod">
          <ac:chgData name="Walid El-Daoud, Sami" userId="7b326922-f7b5-43ce-bdd2-cbab948dcc7c" providerId="ADAL" clId="{1E6A4AD7-EA05-4464-9D3F-04140D0FBF8D}" dt="2025-01-24T07:50:01.907" v="1791" actId="1076"/>
          <ac:cxnSpMkLst>
            <pc:docMk/>
            <pc:sldMk cId="2219639758" sldId="2147472768"/>
            <ac:cxnSpMk id="37" creationId="{092B796C-D46D-C2D1-BA65-9AB4891BFF72}"/>
          </ac:cxnSpMkLst>
        </pc:cxnChg>
        <pc:cxnChg chg="mod">
          <ac:chgData name="Walid El-Daoud, Sami" userId="7b326922-f7b5-43ce-bdd2-cbab948dcc7c" providerId="ADAL" clId="{1E6A4AD7-EA05-4464-9D3F-04140D0FBF8D}" dt="2025-01-24T07:50:01.907" v="1791" actId="1076"/>
          <ac:cxnSpMkLst>
            <pc:docMk/>
            <pc:sldMk cId="2219639758" sldId="2147472768"/>
            <ac:cxnSpMk id="38" creationId="{4652D15D-7D61-5A45-E9AE-4005DE438697}"/>
          </ac:cxnSpMkLst>
        </pc:cxnChg>
        <pc:cxnChg chg="mod">
          <ac:chgData name="Walid El-Daoud, Sami" userId="7b326922-f7b5-43ce-bdd2-cbab948dcc7c" providerId="ADAL" clId="{1E6A4AD7-EA05-4464-9D3F-04140D0FBF8D}" dt="2025-01-24T07:50:01.907" v="1791" actId="1076"/>
          <ac:cxnSpMkLst>
            <pc:docMk/>
            <pc:sldMk cId="2219639758" sldId="2147472768"/>
            <ac:cxnSpMk id="39" creationId="{A6BC681F-C7B5-909A-6239-C46E05F33844}"/>
          </ac:cxnSpMkLst>
        </pc:cxnChg>
        <pc:cxnChg chg="del mod">
          <ac:chgData name="Walid El-Daoud, Sami" userId="7b326922-f7b5-43ce-bdd2-cbab948dcc7c" providerId="ADAL" clId="{1E6A4AD7-EA05-4464-9D3F-04140D0FBF8D}" dt="2025-01-24T07:49:34.478" v="1779" actId="478"/>
          <ac:cxnSpMkLst>
            <pc:docMk/>
            <pc:sldMk cId="2219639758" sldId="2147472768"/>
            <ac:cxnSpMk id="40" creationId="{3ECE3D00-E250-36D1-A76E-ADAA8FA222A6}"/>
          </ac:cxnSpMkLst>
        </pc:cxnChg>
      </pc:sldChg>
      <pc:sldChg chg="addSp delSp modSp new add del mod modNotesTx">
        <pc:chgData name="Walid El-Daoud, Sami" userId="7b326922-f7b5-43ce-bdd2-cbab948dcc7c" providerId="ADAL" clId="{1E6A4AD7-EA05-4464-9D3F-04140D0FBF8D}" dt="2025-01-24T08:05:39.252" v="2177" actId="20577"/>
        <pc:sldMkLst>
          <pc:docMk/>
          <pc:sldMk cId="2445598401" sldId="2147472769"/>
        </pc:sldMkLst>
        <pc:spChg chg="mod">
          <ac:chgData name="Walid El-Daoud, Sami" userId="7b326922-f7b5-43ce-bdd2-cbab948dcc7c" providerId="ADAL" clId="{1E6A4AD7-EA05-4464-9D3F-04140D0FBF8D}" dt="2025-01-24T08:05:04.177" v="2148" actId="948"/>
          <ac:spMkLst>
            <pc:docMk/>
            <pc:sldMk cId="2445598401" sldId="2147472769"/>
            <ac:spMk id="2" creationId="{78039F9B-72A9-7710-0EC4-FDABE11A888A}"/>
          </ac:spMkLst>
        </pc:spChg>
        <pc:spChg chg="add del mod modVis">
          <ac:chgData name="Walid El-Daoud, Sami" userId="7b326922-f7b5-43ce-bdd2-cbab948dcc7c" providerId="ADAL" clId="{1E6A4AD7-EA05-4464-9D3F-04140D0FBF8D}" dt="2025-01-24T08:05:04.200" v="2170"/>
          <ac:spMkLst>
            <pc:docMk/>
            <pc:sldMk cId="2445598401" sldId="2147472769"/>
            <ac:spMk id="5" creationId="{7C46A772-E2A8-6B37-0321-5DD65440F455}"/>
          </ac:spMkLst>
        </pc:spChg>
        <pc:graphicFrameChg chg="add mod ord modVis replST">
          <ac:chgData name="Walid El-Daoud, Sami" userId="7b326922-f7b5-43ce-bdd2-cbab948dcc7c" providerId="ADAL" clId="{1E6A4AD7-EA05-4464-9D3F-04140D0FBF8D}" dt="2025-01-24T08:05:04.202" v="2172"/>
          <ac:graphicFrameMkLst>
            <pc:docMk/>
            <pc:sldMk cId="2445598401" sldId="2147472769"/>
            <ac:graphicFrameMk id="4" creationId="{0F48880B-C937-0301-AEB6-CEAB0E969BBC}"/>
          </ac:graphicFrameMkLst>
        </pc:graphicFrameChg>
      </pc:sldChg>
    </pc:docChg>
  </pc:docChgLst>
  <pc:docChgLst>
    <pc:chgData name="Walid El-Daoud, Sami" userId="7b326922-f7b5-43ce-bdd2-cbab948dcc7c" providerId="ADAL" clId="{57211809-3D42-4717-9C23-68348750A6D2}"/>
    <pc:docChg chg="undo custSel addSld delSld modSld addSection modSection">
      <pc:chgData name="Walid El-Daoud, Sami" userId="7b326922-f7b5-43ce-bdd2-cbab948dcc7c" providerId="ADAL" clId="{57211809-3D42-4717-9C23-68348750A6D2}" dt="2025-02-06T12:12:47.590" v="1540" actId="478"/>
      <pc:docMkLst>
        <pc:docMk/>
      </pc:docMkLst>
      <pc:sldChg chg="modSp mod modAnim modNotesTx">
        <pc:chgData name="Walid El-Daoud, Sami" userId="7b326922-f7b5-43ce-bdd2-cbab948dcc7c" providerId="ADAL" clId="{57211809-3D42-4717-9C23-68348750A6D2}" dt="2025-02-06T12:11:45.839" v="1534" actId="20577"/>
        <pc:sldMkLst>
          <pc:docMk/>
          <pc:sldMk cId="230524325" sldId="257"/>
        </pc:sldMkLst>
        <pc:spChg chg="mod">
          <ac:chgData name="Walid El-Daoud, Sami" userId="7b326922-f7b5-43ce-bdd2-cbab948dcc7c" providerId="ADAL" clId="{57211809-3D42-4717-9C23-68348750A6D2}" dt="2025-01-24T11:52:54.532" v="1493"/>
          <ac:spMkLst>
            <pc:docMk/>
            <pc:sldMk cId="230524325" sldId="257"/>
            <ac:spMk id="9" creationId="{D870E92B-457C-8119-661F-9B9A9F4940C5}"/>
          </ac:spMkLst>
        </pc:spChg>
        <pc:spChg chg="mod">
          <ac:chgData name="Walid El-Daoud, Sami" userId="7b326922-f7b5-43ce-bdd2-cbab948dcc7c" providerId="ADAL" clId="{57211809-3D42-4717-9C23-68348750A6D2}" dt="2025-01-24T11:53:02.415" v="1496" actId="1076"/>
          <ac:spMkLst>
            <pc:docMk/>
            <pc:sldMk cId="230524325" sldId="257"/>
            <ac:spMk id="13" creationId="{82BCE16C-FD00-25FC-C21D-F2B11BAE8DB9}"/>
          </ac:spMkLst>
        </pc:spChg>
      </pc:sldChg>
      <pc:sldChg chg="modNotesTx">
        <pc:chgData name="Walid El-Daoud, Sami" userId="7b326922-f7b5-43ce-bdd2-cbab948dcc7c" providerId="ADAL" clId="{57211809-3D42-4717-9C23-68348750A6D2}" dt="2025-02-06T12:11:55.406" v="1536" actId="20577"/>
        <pc:sldMkLst>
          <pc:docMk/>
          <pc:sldMk cId="1128903937" sldId="274"/>
        </pc:sldMkLst>
      </pc:sldChg>
      <pc:sldChg chg="modSp mod">
        <pc:chgData name="Walid El-Daoud, Sami" userId="7b326922-f7b5-43ce-bdd2-cbab948dcc7c" providerId="ADAL" clId="{57211809-3D42-4717-9C23-68348750A6D2}" dt="2025-01-24T11:46:12.500" v="1479" actId="20577"/>
        <pc:sldMkLst>
          <pc:docMk/>
          <pc:sldMk cId="1455526632" sldId="2147472765"/>
        </pc:sldMkLst>
        <pc:spChg chg="mod">
          <ac:chgData name="Walid El-Daoud, Sami" userId="7b326922-f7b5-43ce-bdd2-cbab948dcc7c" providerId="ADAL" clId="{57211809-3D42-4717-9C23-68348750A6D2}" dt="2025-01-24T11:46:12.500" v="1479" actId="20577"/>
          <ac:spMkLst>
            <pc:docMk/>
            <pc:sldMk cId="1455526632" sldId="2147472765"/>
            <ac:spMk id="17" creationId="{F359F2E5-2287-70A2-3C72-81C254F90DEC}"/>
          </ac:spMkLst>
        </pc:spChg>
      </pc:sldChg>
      <pc:sldChg chg="delSp mod delAnim">
        <pc:chgData name="Walid El-Daoud, Sami" userId="7b326922-f7b5-43ce-bdd2-cbab948dcc7c" providerId="ADAL" clId="{57211809-3D42-4717-9C23-68348750A6D2}" dt="2025-02-06T12:12:47.590" v="1540" actId="478"/>
        <pc:sldMkLst>
          <pc:docMk/>
          <pc:sldMk cId="3657304342" sldId="2147472767"/>
        </pc:sldMkLst>
        <pc:picChg chg="del">
          <ac:chgData name="Walid El-Daoud, Sami" userId="7b326922-f7b5-43ce-bdd2-cbab948dcc7c" providerId="ADAL" clId="{57211809-3D42-4717-9C23-68348750A6D2}" dt="2025-02-06T12:12:47.590" v="1540" actId="478"/>
          <ac:picMkLst>
            <pc:docMk/>
            <pc:sldMk cId="3657304342" sldId="2147472767"/>
            <ac:picMk id="8" creationId="{2168DD9D-01F2-DF78-790E-8E762F3CAAC4}"/>
          </ac:picMkLst>
        </pc:picChg>
      </pc:sldChg>
      <pc:sldChg chg="modNotesTx">
        <pc:chgData name="Walid El-Daoud, Sami" userId="7b326922-f7b5-43ce-bdd2-cbab948dcc7c" providerId="ADAL" clId="{57211809-3D42-4717-9C23-68348750A6D2}" dt="2025-02-06T12:11:50.865" v="1535" actId="20577"/>
        <pc:sldMkLst>
          <pc:docMk/>
          <pc:sldMk cId="2219639758" sldId="2147472768"/>
        </pc:sldMkLst>
      </pc:sldChg>
      <pc:sldChg chg="modSp mod modNotesTx">
        <pc:chgData name="Walid El-Daoud, Sami" userId="7b326922-f7b5-43ce-bdd2-cbab948dcc7c" providerId="ADAL" clId="{57211809-3D42-4717-9C23-68348750A6D2}" dt="2025-02-06T12:12:00.768" v="1537" actId="20577"/>
        <pc:sldMkLst>
          <pc:docMk/>
          <pc:sldMk cId="3920838035" sldId="2147472772"/>
        </pc:sldMkLst>
        <pc:spChg chg="mod">
          <ac:chgData name="Walid El-Daoud, Sami" userId="7b326922-f7b5-43ce-bdd2-cbab948dcc7c" providerId="ADAL" clId="{57211809-3D42-4717-9C23-68348750A6D2}" dt="2025-01-24T11:53:11.758" v="1500" actId="14100"/>
          <ac:spMkLst>
            <pc:docMk/>
            <pc:sldMk cId="3920838035" sldId="2147472772"/>
            <ac:spMk id="5" creationId="{A1B5BC95-AD0C-E7A0-B3A3-77633E1C992E}"/>
          </ac:spMkLst>
        </pc:spChg>
        <pc:spChg chg="mod">
          <ac:chgData name="Walid El-Daoud, Sami" userId="7b326922-f7b5-43ce-bdd2-cbab948dcc7c" providerId="ADAL" clId="{57211809-3D42-4717-9C23-68348750A6D2}" dt="2025-01-24T11:53:07.349" v="1498"/>
          <ac:spMkLst>
            <pc:docMk/>
            <pc:sldMk cId="3920838035" sldId="2147472772"/>
            <ac:spMk id="9" creationId="{D870E92B-457C-8119-661F-9B9A9F4940C5}"/>
          </ac:spMkLst>
        </pc:spChg>
        <pc:spChg chg="mod">
          <ac:chgData name="Walid El-Daoud, Sami" userId="7b326922-f7b5-43ce-bdd2-cbab948dcc7c" providerId="ADAL" clId="{57211809-3D42-4717-9C23-68348750A6D2}" dt="2025-01-24T11:44:00.660" v="1440"/>
          <ac:spMkLst>
            <pc:docMk/>
            <pc:sldMk cId="3920838035" sldId="2147472772"/>
            <ac:spMk id="40" creationId="{5A5BEA9F-506D-7596-7CBA-0B8F93D1B97F}"/>
          </ac:spMkLst>
        </pc:spChg>
      </pc:sldChg>
      <pc:sldChg chg="modSp mod modNotesTx">
        <pc:chgData name="Walid El-Daoud, Sami" userId="7b326922-f7b5-43ce-bdd2-cbab948dcc7c" providerId="ADAL" clId="{57211809-3D42-4717-9C23-68348750A6D2}" dt="2025-02-06T12:12:02.812" v="1538" actId="20577"/>
        <pc:sldMkLst>
          <pc:docMk/>
          <pc:sldMk cId="1341063229" sldId="2147472773"/>
        </pc:sldMkLst>
        <pc:spChg chg="mod">
          <ac:chgData name="Walid El-Daoud, Sami" userId="7b326922-f7b5-43ce-bdd2-cbab948dcc7c" providerId="ADAL" clId="{57211809-3D42-4717-9C23-68348750A6D2}" dt="2025-01-24T11:53:19.135" v="1503" actId="1076"/>
          <ac:spMkLst>
            <pc:docMk/>
            <pc:sldMk cId="1341063229" sldId="2147472773"/>
            <ac:spMk id="5" creationId="{A1B5BC95-AD0C-E7A0-B3A3-77633E1C992E}"/>
          </ac:spMkLst>
        </pc:spChg>
        <pc:spChg chg="mod">
          <ac:chgData name="Walid El-Daoud, Sami" userId="7b326922-f7b5-43ce-bdd2-cbab948dcc7c" providerId="ADAL" clId="{57211809-3D42-4717-9C23-68348750A6D2}" dt="2025-01-24T11:53:16.230" v="1502"/>
          <ac:spMkLst>
            <pc:docMk/>
            <pc:sldMk cId="1341063229" sldId="2147472773"/>
            <ac:spMk id="9" creationId="{D870E92B-457C-8119-661F-9B9A9F4940C5}"/>
          </ac:spMkLst>
        </pc:spChg>
        <pc:spChg chg="mod">
          <ac:chgData name="Walid El-Daoud, Sami" userId="7b326922-f7b5-43ce-bdd2-cbab948dcc7c" providerId="ADAL" clId="{57211809-3D42-4717-9C23-68348750A6D2}" dt="2025-01-24T11:44:18.729" v="1467" actId="20577"/>
          <ac:spMkLst>
            <pc:docMk/>
            <pc:sldMk cId="1341063229" sldId="2147472773"/>
            <ac:spMk id="40" creationId="{5A5BEA9F-506D-7596-7CBA-0B8F93D1B97F}"/>
          </ac:spMkLst>
        </pc:spChg>
      </pc:sldChg>
      <pc:sldChg chg="modSp mod modNotesTx">
        <pc:chgData name="Walid El-Daoud, Sami" userId="7b326922-f7b5-43ce-bdd2-cbab948dcc7c" providerId="ADAL" clId="{57211809-3D42-4717-9C23-68348750A6D2}" dt="2025-02-06T12:12:08.500" v="1539" actId="20577"/>
        <pc:sldMkLst>
          <pc:docMk/>
          <pc:sldMk cId="2559646601" sldId="2147472774"/>
        </pc:sldMkLst>
        <pc:spChg chg="mod">
          <ac:chgData name="Walid El-Daoud, Sami" userId="7b326922-f7b5-43ce-bdd2-cbab948dcc7c" providerId="ADAL" clId="{57211809-3D42-4717-9C23-68348750A6D2}" dt="2025-01-24T11:44:02.771" v="1444" actId="1076"/>
          <ac:spMkLst>
            <pc:docMk/>
            <pc:sldMk cId="2559646601" sldId="2147472774"/>
            <ac:spMk id="4" creationId="{9ED11C44-8DAB-3CD1-D34B-338F5734F3D6}"/>
          </ac:spMkLst>
        </pc:spChg>
        <pc:spChg chg="mod">
          <ac:chgData name="Walid El-Daoud, Sami" userId="7b326922-f7b5-43ce-bdd2-cbab948dcc7c" providerId="ADAL" clId="{57211809-3D42-4717-9C23-68348750A6D2}" dt="2025-01-24T11:44:02.287" v="1443"/>
          <ac:spMkLst>
            <pc:docMk/>
            <pc:sldMk cId="2559646601" sldId="2147472774"/>
            <ac:spMk id="40" creationId="{5A5BEA9F-506D-7596-7CBA-0B8F93D1B97F}"/>
          </ac:spMkLst>
        </pc:spChg>
      </pc:sldChg>
      <pc:sldChg chg="modSp mod">
        <pc:chgData name="Walid El-Daoud, Sami" userId="7b326922-f7b5-43ce-bdd2-cbab948dcc7c" providerId="ADAL" clId="{57211809-3D42-4717-9C23-68348750A6D2}" dt="2025-01-24T11:46:02.013" v="1478" actId="20577"/>
        <pc:sldMkLst>
          <pc:docMk/>
          <pc:sldMk cId="1950757263" sldId="2147472777"/>
        </pc:sldMkLst>
        <pc:spChg chg="mod">
          <ac:chgData name="Walid El-Daoud, Sami" userId="7b326922-f7b5-43ce-bdd2-cbab948dcc7c" providerId="ADAL" clId="{57211809-3D42-4717-9C23-68348750A6D2}" dt="2025-01-24T11:46:02.013" v="1478" actId="20577"/>
          <ac:spMkLst>
            <pc:docMk/>
            <pc:sldMk cId="1950757263" sldId="2147472777"/>
            <ac:spMk id="4" creationId="{2A803FE3-C5E6-066C-80FD-8E53C4A40374}"/>
          </ac:spMkLst>
        </pc:spChg>
      </pc:sldChg>
      <pc:sldChg chg="modSp mod">
        <pc:chgData name="Walid El-Daoud, Sami" userId="7b326922-f7b5-43ce-bdd2-cbab948dcc7c" providerId="ADAL" clId="{57211809-3D42-4717-9C23-68348750A6D2}" dt="2025-01-24T11:53:50.161" v="1521" actId="20577"/>
        <pc:sldMkLst>
          <pc:docMk/>
          <pc:sldMk cId="380541298" sldId="2147472778"/>
        </pc:sldMkLst>
        <pc:spChg chg="mod">
          <ac:chgData name="Walid El-Daoud, Sami" userId="7b326922-f7b5-43ce-bdd2-cbab948dcc7c" providerId="ADAL" clId="{57211809-3D42-4717-9C23-68348750A6D2}" dt="2025-01-24T11:53:50.161" v="1521" actId="20577"/>
          <ac:spMkLst>
            <pc:docMk/>
            <pc:sldMk cId="380541298" sldId="2147472778"/>
            <ac:spMk id="4" creationId="{2A803FE3-C5E6-066C-80FD-8E53C4A40374}"/>
          </ac:spMkLst>
        </pc:spChg>
      </pc:sldChg>
      <pc:sldChg chg="addSp delSp modSp new mod modAnim">
        <pc:chgData name="Walid El-Daoud, Sami" userId="7b326922-f7b5-43ce-bdd2-cbab948dcc7c" providerId="ADAL" clId="{57211809-3D42-4717-9C23-68348750A6D2}" dt="2025-02-03T12:26:27.086" v="1531" actId="20577"/>
        <pc:sldMkLst>
          <pc:docMk/>
          <pc:sldMk cId="845311437" sldId="2147472779"/>
        </pc:sldMkLst>
        <pc:spChg chg="del mod">
          <ac:chgData name="Walid El-Daoud, Sami" userId="7b326922-f7b5-43ce-bdd2-cbab948dcc7c" providerId="ADAL" clId="{57211809-3D42-4717-9C23-68348750A6D2}" dt="2025-01-24T11:42:25.471" v="1420" actId="478"/>
          <ac:spMkLst>
            <pc:docMk/>
            <pc:sldMk cId="845311437" sldId="2147472779"/>
            <ac:spMk id="2" creationId="{28419556-9267-9209-366D-DF2F91854F60}"/>
          </ac:spMkLst>
        </pc:spChg>
        <pc:spChg chg="add del mod">
          <ac:chgData name="Walid El-Daoud, Sami" userId="7b326922-f7b5-43ce-bdd2-cbab948dcc7c" providerId="ADAL" clId="{57211809-3D42-4717-9C23-68348750A6D2}" dt="2025-02-03T12:26:27.086" v="1531" actId="20577"/>
          <ac:spMkLst>
            <pc:docMk/>
            <pc:sldMk cId="845311437" sldId="2147472779"/>
            <ac:spMk id="3" creationId="{995BAA31-6406-69C3-D4C0-25656024110B}"/>
          </ac:spMkLst>
        </pc:spChg>
        <pc:spChg chg="del mod">
          <ac:chgData name="Walid El-Daoud, Sami" userId="7b326922-f7b5-43ce-bdd2-cbab948dcc7c" providerId="ADAL" clId="{57211809-3D42-4717-9C23-68348750A6D2}" dt="2025-01-24T11:28:23.070" v="1131" actId="478"/>
          <ac:spMkLst>
            <pc:docMk/>
            <pc:sldMk cId="845311437" sldId="2147472779"/>
            <ac:spMk id="4" creationId="{345FFE10-5290-3D32-4BE5-50CE0E0FA908}"/>
          </ac:spMkLst>
        </pc:spChg>
        <pc:spChg chg="add del mod modVis">
          <ac:chgData name="Walid El-Daoud, Sami" userId="7b326922-f7b5-43ce-bdd2-cbab948dcc7c" providerId="ADAL" clId="{57211809-3D42-4717-9C23-68348750A6D2}" dt="2025-01-24T11:13:26.958" v="58"/>
          <ac:spMkLst>
            <pc:docMk/>
            <pc:sldMk cId="845311437" sldId="2147472779"/>
            <ac:spMk id="7" creationId="{D96B459B-DF59-C3D0-AA4A-05C63A86A75B}"/>
          </ac:spMkLst>
        </pc:spChg>
        <pc:spChg chg="add del mod modVis">
          <ac:chgData name="Walid El-Daoud, Sami" userId="7b326922-f7b5-43ce-bdd2-cbab948dcc7c" providerId="ADAL" clId="{57211809-3D42-4717-9C23-68348750A6D2}" dt="2025-01-24T11:13:27.539" v="84"/>
          <ac:spMkLst>
            <pc:docMk/>
            <pc:sldMk cId="845311437" sldId="2147472779"/>
            <ac:spMk id="8" creationId="{A59C9211-3995-5A8D-0790-A2211AB6F922}"/>
          </ac:spMkLst>
        </pc:spChg>
        <pc:spChg chg="add del mod modVis">
          <ac:chgData name="Walid El-Daoud, Sami" userId="7b326922-f7b5-43ce-bdd2-cbab948dcc7c" providerId="ADAL" clId="{57211809-3D42-4717-9C23-68348750A6D2}" dt="2025-01-24T11:13:28.869" v="114"/>
          <ac:spMkLst>
            <pc:docMk/>
            <pc:sldMk cId="845311437" sldId="2147472779"/>
            <ac:spMk id="9" creationId="{95CD606D-61C0-AF4E-CF52-5A4137E6E015}"/>
          </ac:spMkLst>
        </pc:spChg>
        <pc:spChg chg="add del mod modVis">
          <ac:chgData name="Walid El-Daoud, Sami" userId="7b326922-f7b5-43ce-bdd2-cbab948dcc7c" providerId="ADAL" clId="{57211809-3D42-4717-9C23-68348750A6D2}" dt="2025-01-24T11:13:29.600" v="141"/>
          <ac:spMkLst>
            <pc:docMk/>
            <pc:sldMk cId="845311437" sldId="2147472779"/>
            <ac:spMk id="10" creationId="{75F31334-E666-5AF1-33C1-FC3E15911821}"/>
          </ac:spMkLst>
        </pc:spChg>
        <pc:spChg chg="add del mod modVis">
          <ac:chgData name="Walid El-Daoud, Sami" userId="7b326922-f7b5-43ce-bdd2-cbab948dcc7c" providerId="ADAL" clId="{57211809-3D42-4717-9C23-68348750A6D2}" dt="2025-01-24T11:13:33.451" v="180"/>
          <ac:spMkLst>
            <pc:docMk/>
            <pc:sldMk cId="845311437" sldId="2147472779"/>
            <ac:spMk id="11" creationId="{BCA56662-2ACA-5722-3C7F-071B37461DE0}"/>
          </ac:spMkLst>
        </pc:spChg>
        <pc:spChg chg="add del mod modVis">
          <ac:chgData name="Walid El-Daoud, Sami" userId="7b326922-f7b5-43ce-bdd2-cbab948dcc7c" providerId="ADAL" clId="{57211809-3D42-4717-9C23-68348750A6D2}" dt="2025-01-24T11:13:34.093" v="207"/>
          <ac:spMkLst>
            <pc:docMk/>
            <pc:sldMk cId="845311437" sldId="2147472779"/>
            <ac:spMk id="12" creationId="{F7B636CE-B28F-CFBC-158A-813F95583FB4}"/>
          </ac:spMkLst>
        </pc:spChg>
        <pc:spChg chg="add mod">
          <ac:chgData name="Walid El-Daoud, Sami" userId="7b326922-f7b5-43ce-bdd2-cbab948dcc7c" providerId="ADAL" clId="{57211809-3D42-4717-9C23-68348750A6D2}" dt="2025-01-24T11:15:11.195" v="211"/>
          <ac:spMkLst>
            <pc:docMk/>
            <pc:sldMk cId="845311437" sldId="2147472779"/>
            <ac:spMk id="13" creationId="{BB1801AD-F66E-B2C5-4C15-86A7CA0EA9FE}"/>
          </ac:spMkLst>
        </pc:spChg>
        <pc:spChg chg="add del mod">
          <ac:chgData name="Walid El-Daoud, Sami" userId="7b326922-f7b5-43ce-bdd2-cbab948dcc7c" providerId="ADAL" clId="{57211809-3D42-4717-9C23-68348750A6D2}" dt="2025-01-24T11:28:21.495" v="1130" actId="478"/>
          <ac:spMkLst>
            <pc:docMk/>
            <pc:sldMk cId="845311437" sldId="2147472779"/>
            <ac:spMk id="14" creationId="{2E4648ED-C252-6FCE-7D20-A424E6668968}"/>
          </ac:spMkLst>
        </pc:spChg>
        <pc:spChg chg="add mod">
          <ac:chgData name="Walid El-Daoud, Sami" userId="7b326922-f7b5-43ce-bdd2-cbab948dcc7c" providerId="ADAL" clId="{57211809-3D42-4717-9C23-68348750A6D2}" dt="2025-01-24T11:28:11.178" v="1126"/>
          <ac:spMkLst>
            <pc:docMk/>
            <pc:sldMk cId="845311437" sldId="2147472779"/>
            <ac:spMk id="15" creationId="{9E204DB9-3376-C564-4ADB-E25361110D4B}"/>
          </ac:spMkLst>
        </pc:spChg>
        <pc:graphicFrameChg chg="add mod ord modVis replST">
          <ac:chgData name="Walid El-Daoud, Sami" userId="7b326922-f7b5-43ce-bdd2-cbab948dcc7c" providerId="ADAL" clId="{57211809-3D42-4717-9C23-68348750A6D2}" dt="2025-01-24T11:42:25.998" v="1422"/>
          <ac:graphicFrameMkLst>
            <pc:docMk/>
            <pc:sldMk cId="845311437" sldId="2147472779"/>
            <ac:graphicFrameMk id="6" creationId="{69C59535-6C7D-9A13-08BB-01D20B7748A0}"/>
          </ac:graphicFrameMkLst>
        </pc:graphicFrameChg>
        <pc:picChg chg="add mod modCrop">
          <ac:chgData name="Walid El-Daoud, Sami" userId="7b326922-f7b5-43ce-bdd2-cbab948dcc7c" providerId="ADAL" clId="{57211809-3D42-4717-9C23-68348750A6D2}" dt="2025-01-24T11:51:57.939" v="1486" actId="14100"/>
          <ac:picMkLst>
            <pc:docMk/>
            <pc:sldMk cId="845311437" sldId="2147472779"/>
            <ac:picMk id="16" creationId="{31E1F808-E359-0528-F08A-A238F9D7D787}"/>
          </ac:picMkLst>
        </pc:picChg>
        <pc:cxnChg chg="add">
          <ac:chgData name="Walid El-Daoud, Sami" userId="7b326922-f7b5-43ce-bdd2-cbab948dcc7c" providerId="ADAL" clId="{57211809-3D42-4717-9C23-68348750A6D2}" dt="2025-01-24T11:52:24.107" v="1491" actId="11529"/>
          <ac:cxnSpMkLst>
            <pc:docMk/>
            <pc:sldMk cId="845311437" sldId="2147472779"/>
            <ac:cxnSpMk id="18" creationId="{417C246A-45DA-76D2-C015-5ED90144E551}"/>
          </ac:cxnSpMkLst>
        </pc:cxnChg>
      </pc:sldChg>
      <pc:sldChg chg="addSp delSp modSp add del mod">
        <pc:chgData name="Walid El-Daoud, Sami" userId="7b326922-f7b5-43ce-bdd2-cbab948dcc7c" providerId="ADAL" clId="{57211809-3D42-4717-9C23-68348750A6D2}" dt="2025-01-24T11:40:37.737" v="1366" actId="47"/>
        <pc:sldMkLst>
          <pc:docMk/>
          <pc:sldMk cId="706537028" sldId="2147472780"/>
        </pc:sldMkLst>
        <pc:spChg chg="mod">
          <ac:chgData name="Walid El-Daoud, Sami" userId="7b326922-f7b5-43ce-bdd2-cbab948dcc7c" providerId="ADAL" clId="{57211809-3D42-4717-9C23-68348750A6D2}" dt="2025-01-24T11:29:33.862" v="1165" actId="948"/>
          <ac:spMkLst>
            <pc:docMk/>
            <pc:sldMk cId="706537028" sldId="2147472780"/>
            <ac:spMk id="2" creationId="{28419556-9267-9209-366D-DF2F91854F60}"/>
          </ac:spMkLst>
        </pc:spChg>
        <pc:spChg chg="mod">
          <ac:chgData name="Walid El-Daoud, Sami" userId="7b326922-f7b5-43ce-bdd2-cbab948dcc7c" providerId="ADAL" clId="{57211809-3D42-4717-9C23-68348750A6D2}" dt="2025-01-24T11:30:22.273" v="1301" actId="5793"/>
          <ac:spMkLst>
            <pc:docMk/>
            <pc:sldMk cId="706537028" sldId="2147472780"/>
            <ac:spMk id="3" creationId="{995BAA31-6406-69C3-D4C0-25656024110B}"/>
          </ac:spMkLst>
        </pc:spChg>
        <pc:spChg chg="del">
          <ac:chgData name="Walid El-Daoud, Sami" userId="7b326922-f7b5-43ce-bdd2-cbab948dcc7c" providerId="ADAL" clId="{57211809-3D42-4717-9C23-68348750A6D2}" dt="2025-01-24T11:30:25.224" v="1302" actId="478"/>
          <ac:spMkLst>
            <pc:docMk/>
            <pc:sldMk cId="706537028" sldId="2147472780"/>
            <ac:spMk id="4" creationId="{345FFE10-5290-3D32-4BE5-50CE0E0FA908}"/>
          </ac:spMkLst>
        </pc:spChg>
        <pc:spChg chg="add del mod modVis">
          <ac:chgData name="Walid El-Daoud, Sami" userId="7b326922-f7b5-43ce-bdd2-cbab948dcc7c" providerId="ADAL" clId="{57211809-3D42-4717-9C23-68348750A6D2}" dt="2025-01-24T11:29:28.641" v="1161"/>
          <ac:spMkLst>
            <pc:docMk/>
            <pc:sldMk cId="706537028" sldId="2147472780"/>
            <ac:spMk id="7" creationId="{460914FD-DFB4-8278-0A92-B10C758D8B74}"/>
          </ac:spMkLst>
        </pc:spChg>
        <pc:spChg chg="add del mod modVis">
          <ac:chgData name="Walid El-Daoud, Sami" userId="7b326922-f7b5-43ce-bdd2-cbab948dcc7c" providerId="ADAL" clId="{57211809-3D42-4717-9C23-68348750A6D2}" dt="2025-01-24T11:29:33.880" v="1187"/>
          <ac:spMkLst>
            <pc:docMk/>
            <pc:sldMk cId="706537028" sldId="2147472780"/>
            <ac:spMk id="8" creationId="{2E203EBA-D840-5067-A80B-55F12C5C6C43}"/>
          </ac:spMkLst>
        </pc:spChg>
        <pc:spChg chg="add del mod">
          <ac:chgData name="Walid El-Daoud, Sami" userId="7b326922-f7b5-43ce-bdd2-cbab948dcc7c" providerId="ADAL" clId="{57211809-3D42-4717-9C23-68348750A6D2}" dt="2025-01-24T11:30:29.831" v="1304" actId="478"/>
          <ac:spMkLst>
            <pc:docMk/>
            <pc:sldMk cId="706537028" sldId="2147472780"/>
            <ac:spMk id="10" creationId="{2D6F3212-F27F-9FB4-EAD1-B72C29688E06}"/>
          </ac:spMkLst>
        </pc:spChg>
        <pc:spChg chg="del">
          <ac:chgData name="Walid El-Daoud, Sami" userId="7b326922-f7b5-43ce-bdd2-cbab948dcc7c" providerId="ADAL" clId="{57211809-3D42-4717-9C23-68348750A6D2}" dt="2025-01-24T11:30:27.659" v="1303" actId="478"/>
          <ac:spMkLst>
            <pc:docMk/>
            <pc:sldMk cId="706537028" sldId="2147472780"/>
            <ac:spMk id="14" creationId="{2E4648ED-C252-6FCE-7D20-A424E6668968}"/>
          </ac:spMkLst>
        </pc:spChg>
        <pc:graphicFrameChg chg="mod">
          <ac:chgData name="Walid El-Daoud, Sami" userId="7b326922-f7b5-43ce-bdd2-cbab948dcc7c" providerId="ADAL" clId="{57211809-3D42-4717-9C23-68348750A6D2}" dt="2025-01-24T11:29:33.881" v="1189"/>
          <ac:graphicFrameMkLst>
            <pc:docMk/>
            <pc:sldMk cId="706537028" sldId="2147472780"/>
            <ac:graphicFrameMk id="6" creationId="{69C59535-6C7D-9A13-08BB-01D20B7748A0}"/>
          </ac:graphicFrameMkLst>
        </pc:graphicFrameChg>
        <pc:picChg chg="add mod">
          <ac:chgData name="Walid El-Daoud, Sami" userId="7b326922-f7b5-43ce-bdd2-cbab948dcc7c" providerId="ADAL" clId="{57211809-3D42-4717-9C23-68348750A6D2}" dt="2025-01-24T11:30:33.555" v="1305"/>
          <ac:picMkLst>
            <pc:docMk/>
            <pc:sldMk cId="706537028" sldId="2147472780"/>
            <ac:picMk id="11" creationId="{4F1C4D17-F6C8-D874-55D0-52A574CD7767}"/>
          </ac:picMkLst>
        </pc:picChg>
      </pc:sldChg>
      <pc:sldChg chg="delSp add del mod delAnim">
        <pc:chgData name="Walid El-Daoud, Sami" userId="7b326922-f7b5-43ce-bdd2-cbab948dcc7c" providerId="ADAL" clId="{57211809-3D42-4717-9C23-68348750A6D2}" dt="2025-02-03T12:26:54.979" v="1532" actId="47"/>
        <pc:sldMkLst>
          <pc:docMk/>
          <pc:sldMk cId="3177020305" sldId="2147472780"/>
        </pc:sldMkLst>
        <pc:spChg chg="del">
          <ac:chgData name="Walid El-Daoud, Sami" userId="7b326922-f7b5-43ce-bdd2-cbab948dcc7c" providerId="ADAL" clId="{57211809-3D42-4717-9C23-68348750A6D2}" dt="2025-02-03T12:25:59.352" v="1523" actId="478"/>
          <ac:spMkLst>
            <pc:docMk/>
            <pc:sldMk cId="3177020305" sldId="2147472780"/>
            <ac:spMk id="13" creationId="{82BCE16C-FD00-25FC-C21D-F2B11BAE8DB9}"/>
          </ac:spMkLst>
        </pc:spChg>
        <pc:spChg chg="del">
          <ac:chgData name="Walid El-Daoud, Sami" userId="7b326922-f7b5-43ce-bdd2-cbab948dcc7c" providerId="ADAL" clId="{57211809-3D42-4717-9C23-68348750A6D2}" dt="2025-02-03T12:26:01.895" v="1524" actId="478"/>
          <ac:spMkLst>
            <pc:docMk/>
            <pc:sldMk cId="3177020305" sldId="2147472780"/>
            <ac:spMk id="14" creationId="{D49DE3D4-FE5A-8A09-EF37-03A8F1EF65FC}"/>
          </ac:spMkLst>
        </pc:spChg>
      </pc:sldChg>
    </pc:docChg>
  </pc:docChgLst>
  <pc:docChgLst>
    <pc:chgData name="Walid El-Daoud, Sami" userId="S::sami.walid@siemensgamesa.com::7b326922-f7b5-43ce-bdd2-cbab948dcc7c" providerId="AD" clId="Web-{28C34244-4EC8-0EA7-D487-CD4EA9263588}"/>
    <pc:docChg chg="modSld sldOrd">
      <pc:chgData name="Walid El-Daoud, Sami" userId="S::sami.walid@siemensgamesa.com::7b326922-f7b5-43ce-bdd2-cbab948dcc7c" providerId="AD" clId="Web-{28C34244-4EC8-0EA7-D487-CD4EA9263588}" dt="2025-01-24T08:32:22.184" v="268"/>
      <pc:docMkLst>
        <pc:docMk/>
      </pc:docMkLst>
      <pc:sldChg chg="addSp modSp modNotes">
        <pc:chgData name="Walid El-Daoud, Sami" userId="S::sami.walid@siemensgamesa.com::7b326922-f7b5-43ce-bdd2-cbab948dcc7c" providerId="AD" clId="Web-{28C34244-4EC8-0EA7-D487-CD4EA9263588}" dt="2025-01-24T08:32:22.184" v="268"/>
        <pc:sldMkLst>
          <pc:docMk/>
          <pc:sldMk cId="2219639758" sldId="2147472768"/>
        </pc:sldMkLst>
        <pc:spChg chg="add mod">
          <ac:chgData name="Walid El-Daoud, Sami" userId="S::sami.walid@siemensgamesa.com::7b326922-f7b5-43ce-bdd2-cbab948dcc7c" providerId="AD" clId="Web-{28C34244-4EC8-0EA7-D487-CD4EA9263588}" dt="2025-01-24T08:26:48.484" v="40"/>
          <ac:spMkLst>
            <pc:docMk/>
            <pc:sldMk cId="2219639758" sldId="2147472768"/>
            <ac:spMk id="3" creationId="{63539B71-DE3A-0EF7-F697-F5D16E2B3715}"/>
          </ac:spMkLst>
        </pc:spChg>
        <pc:spChg chg="add mod">
          <ac:chgData name="Walid El-Daoud, Sami" userId="S::sami.walid@siemensgamesa.com::7b326922-f7b5-43ce-bdd2-cbab948dcc7c" providerId="AD" clId="Web-{28C34244-4EC8-0EA7-D487-CD4EA9263588}" dt="2025-01-24T08:30:19.914" v="218" actId="20577"/>
          <ac:spMkLst>
            <pc:docMk/>
            <pc:sldMk cId="2219639758" sldId="2147472768"/>
            <ac:spMk id="8" creationId="{92EF983A-DF06-9C24-EB23-327237E0AAFC}"/>
          </ac:spMkLst>
        </pc:spChg>
        <pc:spChg chg="mod">
          <ac:chgData name="Walid El-Daoud, Sami" userId="S::sami.walid@siemensgamesa.com::7b326922-f7b5-43ce-bdd2-cbab948dcc7c" providerId="AD" clId="Web-{28C34244-4EC8-0EA7-D487-CD4EA9263588}" dt="2025-01-24T08:31:17.259" v="224" actId="20577"/>
          <ac:spMkLst>
            <pc:docMk/>
            <pc:sldMk cId="2219639758" sldId="2147472768"/>
            <ac:spMk id="9" creationId="{1BACC8DB-4B34-C45E-15C1-934F9731D6BF}"/>
          </ac:spMkLst>
        </pc:spChg>
        <pc:spChg chg="mod">
          <ac:chgData name="Walid El-Daoud, Sami" userId="S::sami.walid@siemensgamesa.com::7b326922-f7b5-43ce-bdd2-cbab948dcc7c" providerId="AD" clId="Web-{28C34244-4EC8-0EA7-D487-CD4EA9263588}" dt="2025-01-24T08:26:52.094" v="48" actId="20577"/>
          <ac:spMkLst>
            <pc:docMk/>
            <pc:sldMk cId="2219639758" sldId="2147472768"/>
            <ac:spMk id="10" creationId="{6C697F5E-B624-A89F-2120-A253CA91CBBA}"/>
          </ac:spMkLst>
        </pc:spChg>
        <pc:spChg chg="mod">
          <ac:chgData name="Walid El-Daoud, Sami" userId="S::sami.walid@siemensgamesa.com::7b326922-f7b5-43ce-bdd2-cbab948dcc7c" providerId="AD" clId="Web-{28C34244-4EC8-0EA7-D487-CD4EA9263588}" dt="2025-01-24T08:26:18.811" v="28" actId="1076"/>
          <ac:spMkLst>
            <pc:docMk/>
            <pc:sldMk cId="2219639758" sldId="2147472768"/>
            <ac:spMk id="19" creationId="{9722A4F4-B91E-4658-A6BA-EC769529692F}"/>
          </ac:spMkLst>
        </pc:spChg>
        <pc:spChg chg="mod">
          <ac:chgData name="Walid El-Daoud, Sami" userId="S::sami.walid@siemensgamesa.com::7b326922-f7b5-43ce-bdd2-cbab948dcc7c" providerId="AD" clId="Web-{28C34244-4EC8-0EA7-D487-CD4EA9263588}" dt="2025-01-24T08:26:18.686" v="20" actId="1076"/>
          <ac:spMkLst>
            <pc:docMk/>
            <pc:sldMk cId="2219639758" sldId="2147472768"/>
            <ac:spMk id="20" creationId="{13C59683-0254-4392-9321-752F8DD7B2D6}"/>
          </ac:spMkLst>
        </pc:spChg>
        <pc:spChg chg="mod">
          <ac:chgData name="Walid El-Daoud, Sami" userId="S::sami.walid@siemensgamesa.com::7b326922-f7b5-43ce-bdd2-cbab948dcc7c" providerId="AD" clId="Web-{28C34244-4EC8-0EA7-D487-CD4EA9263588}" dt="2025-01-24T08:31:39.776" v="226" actId="20577"/>
          <ac:spMkLst>
            <pc:docMk/>
            <pc:sldMk cId="2219639758" sldId="2147472768"/>
            <ac:spMk id="22" creationId="{DB5226ED-DAF7-4867-B65E-7A4A949E4AB9}"/>
          </ac:spMkLst>
        </pc:spChg>
        <pc:spChg chg="mod">
          <ac:chgData name="Walid El-Daoud, Sami" userId="S::sami.walid@siemensgamesa.com::7b326922-f7b5-43ce-bdd2-cbab948dcc7c" providerId="AD" clId="Web-{28C34244-4EC8-0EA7-D487-CD4EA9263588}" dt="2025-01-24T08:26:18.842" v="30" actId="1076"/>
          <ac:spMkLst>
            <pc:docMk/>
            <pc:sldMk cId="2219639758" sldId="2147472768"/>
            <ac:spMk id="23" creationId="{BFB97966-5898-4D66-B937-548ED7B3A006}"/>
          </ac:spMkLst>
        </pc:spChg>
        <pc:spChg chg="mod">
          <ac:chgData name="Walid El-Daoud, Sami" userId="S::sami.walid@siemensgamesa.com::7b326922-f7b5-43ce-bdd2-cbab948dcc7c" providerId="AD" clId="Web-{28C34244-4EC8-0EA7-D487-CD4EA9263588}" dt="2025-01-24T08:26:18.717" v="22" actId="1076"/>
          <ac:spMkLst>
            <pc:docMk/>
            <pc:sldMk cId="2219639758" sldId="2147472768"/>
            <ac:spMk id="24" creationId="{E15EF1A6-B9E0-47BC-A3A2-1002B9C9274A}"/>
          </ac:spMkLst>
        </pc:spChg>
        <pc:spChg chg="mod">
          <ac:chgData name="Walid El-Daoud, Sami" userId="S::sami.walid@siemensgamesa.com::7b326922-f7b5-43ce-bdd2-cbab948dcc7c" providerId="AD" clId="Web-{28C34244-4EC8-0EA7-D487-CD4EA9263588}" dt="2025-01-24T08:26:18.608" v="16" actId="1076"/>
          <ac:spMkLst>
            <pc:docMk/>
            <pc:sldMk cId="2219639758" sldId="2147472768"/>
            <ac:spMk id="29" creationId="{AEECD89D-92BA-08BE-DD88-99B14B022898}"/>
          </ac:spMkLst>
        </pc:spChg>
        <pc:spChg chg="mod">
          <ac:chgData name="Walid El-Daoud, Sami" userId="S::sami.walid@siemensgamesa.com::7b326922-f7b5-43ce-bdd2-cbab948dcc7c" providerId="AD" clId="Web-{28C34244-4EC8-0EA7-D487-CD4EA9263588}" dt="2025-01-24T08:26:18.639" v="17" actId="1076"/>
          <ac:spMkLst>
            <pc:docMk/>
            <pc:sldMk cId="2219639758" sldId="2147472768"/>
            <ac:spMk id="31" creationId="{48C6DBB3-8682-A980-44EB-97F12DE2A377}"/>
          </ac:spMkLst>
        </pc:spChg>
        <pc:spChg chg="mod">
          <ac:chgData name="Walid El-Daoud, Sami" userId="S::sami.walid@siemensgamesa.com::7b326922-f7b5-43ce-bdd2-cbab948dcc7c" providerId="AD" clId="Web-{28C34244-4EC8-0EA7-D487-CD4EA9263588}" dt="2025-01-24T08:26:18.655" v="18" actId="1076"/>
          <ac:spMkLst>
            <pc:docMk/>
            <pc:sldMk cId="2219639758" sldId="2147472768"/>
            <ac:spMk id="32" creationId="{15296B4C-0297-F0EE-570B-29E88C1DA979}"/>
          </ac:spMkLst>
        </pc:spChg>
        <pc:spChg chg="mod">
          <ac:chgData name="Walid El-Daoud, Sami" userId="S::sami.walid@siemensgamesa.com::7b326922-f7b5-43ce-bdd2-cbab948dcc7c" providerId="AD" clId="Web-{28C34244-4EC8-0EA7-D487-CD4EA9263588}" dt="2025-01-24T08:26:18.670" v="19" actId="1076"/>
          <ac:spMkLst>
            <pc:docMk/>
            <pc:sldMk cId="2219639758" sldId="2147472768"/>
            <ac:spMk id="33" creationId="{32D1CFDC-1DBE-EF7F-E5B9-6B85B8B3C1BB}"/>
          </ac:spMkLst>
        </pc:spChg>
        <pc:picChg chg="mod">
          <ac:chgData name="Walid El-Daoud, Sami" userId="S::sami.walid@siemensgamesa.com::7b326922-f7b5-43ce-bdd2-cbab948dcc7c" providerId="AD" clId="Web-{28C34244-4EC8-0EA7-D487-CD4EA9263588}" dt="2025-01-24T08:26:31.640" v="33" actId="1076"/>
          <ac:picMkLst>
            <pc:docMk/>
            <pc:sldMk cId="2219639758" sldId="2147472768"/>
            <ac:picMk id="4" creationId="{BBDB637E-9D0A-180F-A6EF-FD5D72979B68}"/>
          </ac:picMkLst>
        </pc:picChg>
        <pc:cxnChg chg="add mod">
          <ac:chgData name="Walid El-Daoud, Sami" userId="S::sami.walid@siemensgamesa.com::7b326922-f7b5-43ce-bdd2-cbab948dcc7c" providerId="AD" clId="Web-{28C34244-4EC8-0EA7-D487-CD4EA9263588}" dt="2025-01-24T08:26:41.187" v="37" actId="1076"/>
          <ac:cxnSpMkLst>
            <pc:docMk/>
            <pc:sldMk cId="2219639758" sldId="2147472768"/>
            <ac:cxnSpMk id="5" creationId="{A4179B53-162B-050E-527F-E442B7533BFA}"/>
          </ac:cxnSpMkLst>
        </pc:cxnChg>
        <pc:cxnChg chg="mod">
          <ac:chgData name="Walid El-Daoud, Sami" userId="S::sami.walid@siemensgamesa.com::7b326922-f7b5-43ce-bdd2-cbab948dcc7c" providerId="AD" clId="Web-{28C34244-4EC8-0EA7-D487-CD4EA9263588}" dt="2025-01-24T08:26:18.827" v="29" actId="1076"/>
          <ac:cxnSpMkLst>
            <pc:docMk/>
            <pc:sldMk cId="2219639758" sldId="2147472768"/>
            <ac:cxnSpMk id="7" creationId="{5F87C8A9-2D7A-4C7B-9D36-76C85476C9BE}"/>
          </ac:cxnSpMkLst>
        </pc:cxnChg>
        <pc:cxnChg chg="mod">
          <ac:chgData name="Walid El-Daoud, Sami" userId="S::sami.walid@siemensgamesa.com::7b326922-f7b5-43ce-bdd2-cbab948dcc7c" providerId="AD" clId="Web-{28C34244-4EC8-0EA7-D487-CD4EA9263588}" dt="2025-01-24T08:26:18.795" v="27" actId="1076"/>
          <ac:cxnSpMkLst>
            <pc:docMk/>
            <pc:sldMk cId="2219639758" sldId="2147472768"/>
            <ac:cxnSpMk id="11" creationId="{277A3E28-5526-2906-7B40-EAC04B5639F4}"/>
          </ac:cxnSpMkLst>
        </pc:cxnChg>
        <pc:cxnChg chg="mod">
          <ac:chgData name="Walid El-Daoud, Sami" userId="S::sami.walid@siemensgamesa.com::7b326922-f7b5-43ce-bdd2-cbab948dcc7c" providerId="AD" clId="Web-{28C34244-4EC8-0EA7-D487-CD4EA9263588}" dt="2025-01-24T08:26:18.733" v="23" actId="1076"/>
          <ac:cxnSpMkLst>
            <pc:docMk/>
            <pc:sldMk cId="2219639758" sldId="2147472768"/>
            <ac:cxnSpMk id="35" creationId="{1D283755-6E14-5ABB-AF87-7A52D941595E}"/>
          </ac:cxnSpMkLst>
        </pc:cxnChg>
        <pc:cxnChg chg="mod">
          <ac:chgData name="Walid El-Daoud, Sami" userId="S::sami.walid@siemensgamesa.com::7b326922-f7b5-43ce-bdd2-cbab948dcc7c" providerId="AD" clId="Web-{28C34244-4EC8-0EA7-D487-CD4EA9263588}" dt="2025-01-24T08:26:18.749" v="24" actId="1076"/>
          <ac:cxnSpMkLst>
            <pc:docMk/>
            <pc:sldMk cId="2219639758" sldId="2147472768"/>
            <ac:cxnSpMk id="37" creationId="{092B796C-D46D-C2D1-BA65-9AB4891BFF72}"/>
          </ac:cxnSpMkLst>
        </pc:cxnChg>
        <pc:cxnChg chg="mod">
          <ac:chgData name="Walid El-Daoud, Sami" userId="S::sami.walid@siemensgamesa.com::7b326922-f7b5-43ce-bdd2-cbab948dcc7c" providerId="AD" clId="Web-{28C34244-4EC8-0EA7-D487-CD4EA9263588}" dt="2025-01-24T08:26:18.764" v="25" actId="1076"/>
          <ac:cxnSpMkLst>
            <pc:docMk/>
            <pc:sldMk cId="2219639758" sldId="2147472768"/>
            <ac:cxnSpMk id="38" creationId="{4652D15D-7D61-5A45-E9AE-4005DE438697}"/>
          </ac:cxnSpMkLst>
        </pc:cxnChg>
        <pc:cxnChg chg="mod">
          <ac:chgData name="Walid El-Daoud, Sami" userId="S::sami.walid@siemensgamesa.com::7b326922-f7b5-43ce-bdd2-cbab948dcc7c" providerId="AD" clId="Web-{28C34244-4EC8-0EA7-D487-CD4EA9263588}" dt="2025-01-24T08:26:18.780" v="26" actId="1076"/>
          <ac:cxnSpMkLst>
            <pc:docMk/>
            <pc:sldMk cId="2219639758" sldId="2147472768"/>
            <ac:cxnSpMk id="39" creationId="{A6BC681F-C7B5-909A-6239-C46E05F33844}"/>
          </ac:cxnSpMkLst>
        </pc:cxnChg>
      </pc:sldChg>
      <pc:sldChg chg="modSp ord">
        <pc:chgData name="Walid El-Daoud, Sami" userId="S::sami.walid@siemensgamesa.com::7b326922-f7b5-43ce-bdd2-cbab948dcc7c" providerId="AD" clId="Web-{28C34244-4EC8-0EA7-D487-CD4EA9263588}" dt="2025-01-24T08:25:26.184" v="11" actId="20577"/>
        <pc:sldMkLst>
          <pc:docMk/>
          <pc:sldMk cId="2445598401" sldId="2147472769"/>
        </pc:sldMkLst>
        <pc:spChg chg="mod">
          <ac:chgData name="Walid El-Daoud, Sami" userId="S::sami.walid@siemensgamesa.com::7b326922-f7b5-43ce-bdd2-cbab948dcc7c" providerId="AD" clId="Web-{28C34244-4EC8-0EA7-D487-CD4EA9263588}" dt="2025-01-24T08:25:26.184" v="11" actId="20577"/>
          <ac:spMkLst>
            <pc:docMk/>
            <pc:sldMk cId="2445598401" sldId="2147472769"/>
            <ac:spMk id="2" creationId="{78039F9B-72A9-7710-0EC4-FDABE11A888A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9975238A-E77C-4161-8153-559CAAFF08D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sz="105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C63C429-307D-46CA-9A12-06D8698F75D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DE2EF3F-42B8-4B9D-A37E-11A4D443AA0D}" type="datetimeFigureOut">
              <a:rPr lang="en-US" sz="1050" smtClean="0"/>
              <a:t>2/6/2025</a:t>
            </a:fld>
            <a:endParaRPr lang="en-US" sz="105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965EB52-C1D0-4343-AE68-5103D2F4190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sz="105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96198C1-5F95-4924-98B6-9E9A0B40AE6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r>
              <a:rPr lang="en-US" sz="1050" b="1"/>
              <a:t>Handout</a:t>
            </a:r>
            <a:r>
              <a:rPr lang="en-US" sz="1050"/>
              <a:t> </a:t>
            </a:r>
            <a:fld id="{FE9D864B-9634-41E7-BDAB-3BBEEED548E4}" type="slidenum">
              <a:rPr lang="en-US" sz="1050" smtClean="0"/>
              <a:t>‹nr.›</a:t>
            </a:fld>
            <a:endParaRPr lang="en-US" sz="1050"/>
          </a:p>
        </p:txBody>
      </p:sp>
    </p:spTree>
    <p:extLst>
      <p:ext uri="{BB962C8B-B14F-4D97-AF65-F5344CB8AC3E}">
        <p14:creationId xmlns:p14="http://schemas.microsoft.com/office/powerpoint/2010/main" val="275360003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 rtl="0">
              <a:defRPr sz="10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 rtl="0">
              <a:defRPr sz="1000"/>
            </a:lvl1pPr>
          </a:lstStyle>
          <a:p>
            <a:fld id="{B121E240-E9EA-40DE-8EFF-BE00DCAC0262}" type="datetimeFigureOut">
              <a:rPr lang="en-US" smtClean="0"/>
              <a:pPr/>
              <a:t>2/6/2025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82600" y="1279525"/>
            <a:ext cx="6140450" cy="3454400"/>
          </a:xfrm>
          <a:prstGeom prst="rect">
            <a:avLst/>
          </a:prstGeom>
          <a:noFill/>
          <a:ln w="12700">
            <a:solidFill>
              <a:schemeClr val="accent6"/>
            </a:solidFill>
          </a:ln>
        </p:spPr>
        <p:txBody>
          <a:bodyPr vert="horz" lIns="99075" tIns="49538" rIns="99075" bIns="49538" rtlCol="0" anchor="ctr"/>
          <a:lstStyle/>
          <a:p>
            <a:endParaRPr lang="en-US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79394" y="4925407"/>
            <a:ext cx="6145276" cy="4029879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noProof="0" err="1"/>
              <a:t>Formatvorlagen</a:t>
            </a:r>
            <a:r>
              <a:rPr lang="en-US" noProof="0"/>
              <a:t> des </a:t>
            </a:r>
            <a:r>
              <a:rPr lang="en-US" noProof="0" err="1"/>
              <a:t>Textmasters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 err="1"/>
              <a:t>Zweite</a:t>
            </a:r>
            <a:r>
              <a:rPr lang="en-US" noProof="0"/>
              <a:t> Ebene</a:t>
            </a:r>
          </a:p>
          <a:p>
            <a:pPr lvl="2"/>
            <a:r>
              <a:rPr lang="en-US" noProof="0" err="1"/>
              <a:t>Dritte</a:t>
            </a:r>
            <a:r>
              <a:rPr lang="en-US" noProof="0"/>
              <a:t> Ebene</a:t>
            </a:r>
          </a:p>
          <a:p>
            <a:pPr lvl="3"/>
            <a:r>
              <a:rPr lang="en-US" noProof="0" err="1"/>
              <a:t>Vierte</a:t>
            </a:r>
            <a:r>
              <a:rPr lang="en-US" noProof="0"/>
              <a:t> Ebene</a:t>
            </a:r>
          </a:p>
          <a:p>
            <a:pPr lvl="4"/>
            <a:r>
              <a:rPr lang="en-US" noProof="0" err="1"/>
              <a:t>Fünfte</a:t>
            </a:r>
            <a:r>
              <a:rPr lang="en-US" noProof="0"/>
              <a:t>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 rtl="0">
              <a:defRPr sz="10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 rtl="0">
              <a:defRPr sz="1000"/>
            </a:lvl1pPr>
          </a:lstStyle>
          <a:p>
            <a:r>
              <a:rPr lang="en-US" b="1"/>
              <a:t>Notice </a:t>
            </a:r>
            <a:fld id="{84EE17C3-51E0-4A9C-B3A8-E6548E6A9E95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14762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lnSpc>
        <a:spcPct val="110000"/>
      </a:lnSpc>
      <a:spcAft>
        <a:spcPts val="3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80000" indent="-180000" algn="l" defTabSz="914400" rtl="0" eaLnBrk="1" latinLnBrk="0" hangingPunct="1">
      <a:lnSpc>
        <a:spcPct val="110000"/>
      </a:lnSpc>
      <a:spcAft>
        <a:spcPts val="300"/>
      </a:spcAft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000" indent="-180000" algn="l" defTabSz="914400" rtl="0" eaLnBrk="1" latinLnBrk="0" hangingPunct="1">
      <a:lnSpc>
        <a:spcPct val="110000"/>
      </a:lnSpc>
      <a:spcAft>
        <a:spcPts val="300"/>
      </a:spcAft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0000" indent="-180000" algn="l" defTabSz="914400" rtl="0" eaLnBrk="1" latinLnBrk="0" hangingPunct="1">
      <a:lnSpc>
        <a:spcPct val="110000"/>
      </a:lnSpc>
      <a:spcAft>
        <a:spcPts val="300"/>
      </a:spcAft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0000" indent="-180000" algn="l" defTabSz="914400" rtl="0" eaLnBrk="1" latinLnBrk="0" hangingPunct="1">
      <a:lnSpc>
        <a:spcPct val="110000"/>
      </a:lnSpc>
      <a:spcAft>
        <a:spcPts val="300"/>
      </a:spcAft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b="1"/>
              <a:t>Notice </a:t>
            </a:r>
            <a:fld id="{84EE17C3-51E0-4A9C-B3A8-E6548E6A9E95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9184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b="1"/>
              <a:t>Notice </a:t>
            </a:r>
            <a:fld id="{84EE17C3-51E0-4A9C-B3A8-E6548E6A9E95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58547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highlight>
                <a:srgbClr val="FFFF00"/>
              </a:highlight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b="1"/>
              <a:t>Notice </a:t>
            </a:r>
            <a:fld id="{84EE17C3-51E0-4A9C-B3A8-E6548E6A9E95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237193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0" lang="en-US" sz="1200" b="0" i="0" u="none" strike="noStrike" kern="120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Calibri" panose="020F0502020204030204" pitchFamily="34" charset="0"/>
              <a:cs typeface="+mn-cs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es</a:t>
            </a: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fld id="{E76C657F-0E32-4130-ADDA-66B81138A76A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9343748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b="1"/>
              <a:t>Notice </a:t>
            </a:r>
            <a:fld id="{84EE17C3-51E0-4A9C-B3A8-E6548E6A9E95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14622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b="1"/>
              <a:t>Notice </a:t>
            </a:r>
            <a:fld id="{84EE17C3-51E0-4A9C-B3A8-E6548E6A9E95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636453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b="1"/>
              <a:t>Notice </a:t>
            </a:r>
            <a:fld id="{84EE17C3-51E0-4A9C-B3A8-E6548E6A9E95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375093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b="1"/>
              <a:t>Notice </a:t>
            </a:r>
            <a:fld id="{84EE17C3-51E0-4A9C-B3A8-E6548E6A9E95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081213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b="1"/>
              <a:t>Notice </a:t>
            </a:r>
            <a:fld id="{84EE17C3-51E0-4A9C-B3A8-E6548E6A9E95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18911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emf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9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9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9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9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9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9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9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9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9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3.emf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9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5" Type="http://schemas.openxmlformats.org/officeDocument/2006/relationships/image" Target="../media/image10.emf"/><Relationship Id="rId4" Type="http://schemas.openxmlformats.org/officeDocument/2006/relationships/image" Target="../media/image9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9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9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4" Type="http://schemas.openxmlformats.org/officeDocument/2006/relationships/image" Target="../media/image9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9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4" Type="http://schemas.openxmlformats.org/officeDocument/2006/relationships/image" Target="../media/image9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4" Type="http://schemas.openxmlformats.org/officeDocument/2006/relationships/image" Target="../media/image9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4" Type="http://schemas.openxmlformats.org/officeDocument/2006/relationships/image" Target="../media/image9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3.emf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5" Type="http://schemas.openxmlformats.org/officeDocument/2006/relationships/image" Target="../media/image10.emf"/><Relationship Id="rId4" Type="http://schemas.openxmlformats.org/officeDocument/2006/relationships/image" Target="../media/image9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3.emf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3.emf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10.emf"/><Relationship Id="rId4" Type="http://schemas.openxmlformats.org/officeDocument/2006/relationships/image" Target="../media/image9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picture offsho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EDC5DA7-0860-44F1-900E-BC25A247EB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05698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EDC5DA7-0860-44F1-900E-BC25A247EB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>
            <a:extLst>
              <a:ext uri="{FF2B5EF4-FFF2-40B4-BE49-F238E27FC236}">
                <a16:creationId xmlns:a16="http://schemas.microsoft.com/office/drawing/2014/main" id="{B4D0632F-141D-4FA9-8837-22222017C89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rtl="0"/>
            <a:endParaRPr lang="en-US">
              <a:solidFill>
                <a:schemeClr val="tx1"/>
              </a:solidFill>
            </a:endParaRPr>
          </a:p>
        </p:txBody>
      </p:sp>
      <p:pic>
        <p:nvPicPr>
          <p:cNvPr id="51" name="Grafik 50" descr="Ein Bild, das Wasser, dunkel enthält.&#10;&#10;Automatisch generierte Beschreibung">
            <a:extLst>
              <a:ext uri="{FF2B5EF4-FFF2-40B4-BE49-F238E27FC236}">
                <a16:creationId xmlns:a16="http://schemas.microsoft.com/office/drawing/2014/main" id="{5BC57436-EB31-4E4C-B375-8AA4FA79D81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t="-8889" b="8889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vert="horz" lIns="0" tIns="0" bIns="0" anchor="b"/>
          <a:lstStyle>
            <a:lvl1pPr algn="l" rtl="0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27064" y="4528800"/>
            <a:ext cx="5614986" cy="899252"/>
          </a:xfrm>
        </p:spPr>
        <p:txBody>
          <a:bodyPr lIns="0" tIns="108000" anchor="t">
            <a:noAutofit/>
          </a:bodyPr>
          <a:lstStyle>
            <a:lvl1pPr marL="0" indent="0" algn="l" rtl="0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Month 2020</a:t>
            </a:r>
          </a:p>
        </p:txBody>
      </p:sp>
      <p:pic>
        <p:nvPicPr>
          <p:cNvPr id="47" name="Grafik 46">
            <a:extLst>
              <a:ext uri="{FF2B5EF4-FFF2-40B4-BE49-F238E27FC236}">
                <a16:creationId xmlns:a16="http://schemas.microsoft.com/office/drawing/2014/main" id="{C90DF529-7913-4905-BE38-A4E3671FC34C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663113" y="403233"/>
            <a:ext cx="2051050" cy="330512"/>
          </a:xfrm>
          <a:prstGeom prst="rect">
            <a:avLst/>
          </a:prstGeom>
        </p:spPr>
      </p:pic>
      <p:sp>
        <p:nvSpPr>
          <p:cNvPr id="10" name="Footer">
            <a:extLst>
              <a:ext uri="{FF2B5EF4-FFF2-40B4-BE49-F238E27FC236}">
                <a16:creationId xmlns:a16="http://schemas.microsoft.com/office/drawing/2014/main" id="{C034344C-62DD-4768-B58D-F4BC6165C9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08400" y="6526800"/>
            <a:ext cx="8484800" cy="170333"/>
          </a:xfrm>
          <a:prstGeom prst="rect">
            <a:avLst/>
          </a:prstGeom>
        </p:spPr>
        <p:txBody>
          <a:bodyPr vert="horz" lIns="0" tIns="0" rIns="835200" bIns="0" rtlCol="0" anchor="t"/>
          <a:lstStyle>
            <a:lvl1pPr algn="r" rtl="0">
              <a:defRPr lang="en-US" sz="1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Restricted © Siemens Gamesa Renewable Energy, YYYY | Author | Departmen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228137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Index w/ optional cut ou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75CB20A2-445F-4E74-BB7D-D6E2ED9AC9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35722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75CB20A2-445F-4E74-BB7D-D6E2ED9AC9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ackground">
            <a:extLst>
              <a:ext uri="{FF2B5EF4-FFF2-40B4-BE49-F238E27FC236}">
                <a16:creationId xmlns:a16="http://schemas.microsoft.com/office/drawing/2014/main" id="{1E1335ED-D1C6-4433-AD26-79A9E5F858A6}"/>
              </a:ext>
            </a:extLst>
          </p:cNvPr>
          <p:cNvSpPr/>
          <p:nvPr userDrawn="1"/>
        </p:nvSpPr>
        <p:spPr bwMode="hidden">
          <a:xfrm>
            <a:off x="-2" y="0"/>
            <a:ext cx="12192001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/>
          </a:p>
        </p:txBody>
      </p:sp>
      <p:sp>
        <p:nvSpPr>
          <p:cNvPr id="2" name="Table of contents">
            <a:extLst>
              <a:ext uri="{FF2B5EF4-FFF2-40B4-BE49-F238E27FC236}">
                <a16:creationId xmlns:a16="http://schemas.microsoft.com/office/drawing/2014/main" id="{989931F3-BF65-40DB-9BE0-80167D2EBFE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able of contents</a:t>
            </a:r>
          </a:p>
        </p:txBody>
      </p:sp>
      <p:sp>
        <p:nvSpPr>
          <p:cNvPr id="8" name="Table"/>
          <p:cNvSpPr>
            <a:spLocks noGrp="1"/>
          </p:cNvSpPr>
          <p:nvPr>
            <p:ph type="tbl" sz="quarter" idx="10" hasCustomPrompt="1"/>
          </p:nvPr>
        </p:nvSpPr>
        <p:spPr>
          <a:xfrm>
            <a:off x="627062" y="1522800"/>
            <a:ext cx="8208000" cy="4644000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ab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F099B4D-DDCB-4B71-962C-158943057CF1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1B37B76-DD37-417C-9B4B-F747432117F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6242400" y="6526800"/>
            <a:ext cx="5950800" cy="33120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Restricted © Siemens Gamesa Renewable Energy, YYYY | Author | Department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6F01958-72C1-44DF-95B7-D4A951EFA29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rtl="0">
              <a:defRPr/>
            </a:lvl1pPr>
          </a:lstStyle>
          <a:p>
            <a:fld id="{E5B0116A-0D09-4E99-8C69-B4C15A5D8A2B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801092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DDE08E1F-11D1-4B28-902B-1CE5E6487F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81778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5" progId="TCLayout.ActiveDocument.1">
                  <p:embed/>
                </p:oleObj>
              </mc:Choice>
              <mc:Fallback>
                <p:oleObj name="think-cell Slide" r:id="rId3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DDE08E1F-11D1-4B28-902B-1CE5E6487F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able of contents">
            <a:extLst>
              <a:ext uri="{FF2B5EF4-FFF2-40B4-BE49-F238E27FC236}">
                <a16:creationId xmlns:a16="http://schemas.microsoft.com/office/drawing/2014/main" id="{C41ED7A8-59A7-4A1B-85AB-660A43EF3A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noProof="0"/>
              <a:t>Table of contents</a:t>
            </a:r>
            <a:endParaRPr lang="en-US"/>
          </a:p>
        </p:txBody>
      </p:sp>
      <p:sp>
        <p:nvSpPr>
          <p:cNvPr id="4" name="Table"/>
          <p:cNvSpPr>
            <a:spLocks noGrp="1"/>
          </p:cNvSpPr>
          <p:nvPr>
            <p:ph type="tbl" sz="quarter" idx="10" hasCustomPrompt="1"/>
          </p:nvPr>
        </p:nvSpPr>
        <p:spPr>
          <a:xfrm>
            <a:off x="627062" y="1522800"/>
            <a:ext cx="8208000" cy="4644575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 noProof="0"/>
              <a:t>Table</a:t>
            </a:r>
          </a:p>
        </p:txBody>
      </p:sp>
      <p:sp>
        <p:nvSpPr>
          <p:cNvPr id="3" name="Date">
            <a:extLst>
              <a:ext uri="{FF2B5EF4-FFF2-40B4-BE49-F238E27FC236}">
                <a16:creationId xmlns:a16="http://schemas.microsoft.com/office/drawing/2014/main" id="{AC22364F-F9C6-4D52-9986-149F5BA08EF0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5" name="Footer">
            <a:extLst>
              <a:ext uri="{FF2B5EF4-FFF2-40B4-BE49-F238E27FC236}">
                <a16:creationId xmlns:a16="http://schemas.microsoft.com/office/drawing/2014/main" id="{F7A11488-1D28-45C0-8F53-ED3E87382A1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6242400" y="6526800"/>
            <a:ext cx="5950800" cy="33120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Restricted © Siemens Gamesa Renewable Energy, YYYY | Author | Department</a:t>
            </a:r>
            <a:endParaRPr lang="en-GB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D978D384-4EEE-4FEC-A500-1EC44136AC1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rtl="0">
              <a:defRPr/>
            </a:lvl1pPr>
          </a:lstStyle>
          <a:p>
            <a:fld id="{E5B0116A-0D09-4E99-8C69-B4C15A5D8A2B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194992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nde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49CDBE98-5CCB-4321-A70B-2EF86A1CDE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23530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5" progId="TCLayout.ActiveDocument.1">
                  <p:embed/>
                </p:oleObj>
              </mc:Choice>
              <mc:Fallback>
                <p:oleObj name="think-cell Slide" r:id="rId3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49CDBE98-5CCB-4321-A70B-2EF86A1CDE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able of contents">
            <a:extLst>
              <a:ext uri="{FF2B5EF4-FFF2-40B4-BE49-F238E27FC236}">
                <a16:creationId xmlns:a16="http://schemas.microsoft.com/office/drawing/2014/main" id="{C310531E-0CC7-4528-B1E6-9F819FD0E0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noProof="0"/>
              <a:t>Table of contents</a:t>
            </a:r>
            <a:endParaRPr lang="en-US"/>
          </a:p>
        </p:txBody>
      </p:sp>
      <p:sp>
        <p:nvSpPr>
          <p:cNvPr id="4" name="Chapter 1">
            <a:extLst>
              <a:ext uri="{FF2B5EF4-FFF2-40B4-BE49-F238E27FC236}">
                <a16:creationId xmlns:a16="http://schemas.microsoft.com/office/drawing/2014/main" id="{3EF4C540-3305-446C-B3A6-5230FE8E1E6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7063" y="1703388"/>
            <a:ext cx="2160000" cy="2016000"/>
          </a:xfrm>
        </p:spPr>
        <p:txBody>
          <a:bodyPr lIns="180000" tIns="108000"/>
          <a:lstStyle>
            <a:lvl1pPr rtl="0">
              <a:lnSpc>
                <a:spcPct val="90000"/>
              </a:lnSpc>
              <a:spcAft>
                <a:spcPts val="1500"/>
              </a:spcAft>
              <a:defRPr sz="7200" b="1">
                <a:latin typeface="+mj-lt"/>
                <a:cs typeface="Times New Roman" panose="02020603050405020304" pitchFamily="18" charset="0"/>
              </a:defRPr>
            </a:lvl1pPr>
            <a:lvl2pPr marL="0" indent="0" rtl="0">
              <a:buNone/>
              <a:defRPr b="1">
                <a:latin typeface="+mj-lt"/>
              </a:defRPr>
            </a:lvl2pPr>
            <a:lvl3pPr marL="0" indent="0" rtl="0">
              <a:buNone/>
              <a:defRPr>
                <a:latin typeface="+mj-lt"/>
              </a:defRPr>
            </a:lvl3pPr>
          </a:lstStyle>
          <a:p>
            <a:pPr lvl="0"/>
            <a:r>
              <a:rPr lang="en-US" noProof="0"/>
              <a:t>No.</a:t>
            </a:r>
          </a:p>
          <a:p>
            <a:pPr lvl="1"/>
            <a:r>
              <a:rPr lang="en-US" noProof="0"/>
              <a:t>Chapter</a:t>
            </a:r>
          </a:p>
          <a:p>
            <a:pPr lvl="2"/>
            <a:r>
              <a:rPr lang="en-US" noProof="0"/>
              <a:t>Topic</a:t>
            </a:r>
          </a:p>
        </p:txBody>
      </p:sp>
      <p:sp>
        <p:nvSpPr>
          <p:cNvPr id="14" name="Chapter 2">
            <a:extLst>
              <a:ext uri="{FF2B5EF4-FFF2-40B4-BE49-F238E27FC236}">
                <a16:creationId xmlns:a16="http://schemas.microsoft.com/office/drawing/2014/main" id="{F65B1E50-0024-482D-BD5A-7064672F6AC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930732" y="1703388"/>
            <a:ext cx="2160000" cy="2016000"/>
          </a:xfrm>
        </p:spPr>
        <p:txBody>
          <a:bodyPr lIns="180000" tIns="108000"/>
          <a:lstStyle>
            <a:lvl1pPr rtl="0">
              <a:lnSpc>
                <a:spcPct val="90000"/>
              </a:lnSpc>
              <a:spcAft>
                <a:spcPts val="1500"/>
              </a:spcAft>
              <a:defRPr sz="7200" b="1">
                <a:latin typeface="+mj-lt"/>
                <a:cs typeface="Times New Roman" panose="02020603050405020304" pitchFamily="18" charset="0"/>
              </a:defRPr>
            </a:lvl1pPr>
            <a:lvl2pPr marL="0" indent="0" rtl="0">
              <a:buNone/>
              <a:defRPr b="1">
                <a:latin typeface="+mj-lt"/>
              </a:defRPr>
            </a:lvl2pPr>
            <a:lvl3pPr marL="0" indent="0" rtl="0">
              <a:buNone/>
              <a:defRPr>
                <a:latin typeface="+mj-lt"/>
              </a:defRPr>
            </a:lvl3pPr>
          </a:lstStyle>
          <a:p>
            <a:pPr lvl="0"/>
            <a:r>
              <a:rPr lang="en-US" noProof="0"/>
              <a:t>No.</a:t>
            </a:r>
          </a:p>
          <a:p>
            <a:pPr lvl="1"/>
            <a:r>
              <a:rPr lang="en-US" noProof="0"/>
              <a:t>Chapter</a:t>
            </a:r>
          </a:p>
          <a:p>
            <a:pPr lvl="2"/>
            <a:r>
              <a:rPr lang="en-US" noProof="0"/>
              <a:t>Topic</a:t>
            </a:r>
          </a:p>
        </p:txBody>
      </p:sp>
      <p:sp>
        <p:nvSpPr>
          <p:cNvPr id="15" name="Chapter 3">
            <a:extLst>
              <a:ext uri="{FF2B5EF4-FFF2-40B4-BE49-F238E27FC236}">
                <a16:creationId xmlns:a16="http://schemas.microsoft.com/office/drawing/2014/main" id="{8AC85E50-79A3-4CC2-85A0-1E361742F5E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234400" y="1703388"/>
            <a:ext cx="2160000" cy="2016000"/>
          </a:xfrm>
        </p:spPr>
        <p:txBody>
          <a:bodyPr lIns="180000" tIns="108000"/>
          <a:lstStyle>
            <a:lvl1pPr rtl="0">
              <a:lnSpc>
                <a:spcPct val="90000"/>
              </a:lnSpc>
              <a:spcAft>
                <a:spcPts val="1500"/>
              </a:spcAft>
              <a:defRPr sz="7200" b="1">
                <a:latin typeface="+mj-lt"/>
                <a:cs typeface="Times New Roman" panose="02020603050405020304" pitchFamily="18" charset="0"/>
              </a:defRPr>
            </a:lvl1pPr>
            <a:lvl2pPr marL="0" indent="0" rtl="0">
              <a:buNone/>
              <a:defRPr b="1">
                <a:latin typeface="+mj-lt"/>
              </a:defRPr>
            </a:lvl2pPr>
            <a:lvl3pPr marL="0" indent="0" rtl="0">
              <a:buNone/>
              <a:defRPr>
                <a:latin typeface="+mj-lt"/>
              </a:defRPr>
            </a:lvl3pPr>
          </a:lstStyle>
          <a:p>
            <a:pPr lvl="0"/>
            <a:r>
              <a:rPr lang="en-US" noProof="0"/>
              <a:t>No.</a:t>
            </a:r>
          </a:p>
          <a:p>
            <a:pPr lvl="1"/>
            <a:r>
              <a:rPr lang="en-US" noProof="0"/>
              <a:t>Chapter</a:t>
            </a:r>
          </a:p>
          <a:p>
            <a:pPr lvl="2"/>
            <a:r>
              <a:rPr lang="en-US" noProof="0"/>
              <a:t>Topic</a:t>
            </a:r>
          </a:p>
        </p:txBody>
      </p:sp>
      <p:sp>
        <p:nvSpPr>
          <p:cNvPr id="16" name="Chapter 4">
            <a:extLst>
              <a:ext uri="{FF2B5EF4-FFF2-40B4-BE49-F238E27FC236}">
                <a16:creationId xmlns:a16="http://schemas.microsoft.com/office/drawing/2014/main" id="{6AEF1AD1-4DDB-4DBA-8C94-A0DA12F1A03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7063" y="3862388"/>
            <a:ext cx="2160000" cy="2016000"/>
          </a:xfrm>
        </p:spPr>
        <p:txBody>
          <a:bodyPr lIns="180000" tIns="108000"/>
          <a:lstStyle>
            <a:lvl1pPr rtl="0">
              <a:lnSpc>
                <a:spcPct val="90000"/>
              </a:lnSpc>
              <a:spcAft>
                <a:spcPts val="1500"/>
              </a:spcAft>
              <a:defRPr sz="7200" b="1">
                <a:latin typeface="+mj-lt"/>
                <a:cs typeface="Times New Roman" panose="02020603050405020304" pitchFamily="18" charset="0"/>
              </a:defRPr>
            </a:lvl1pPr>
            <a:lvl2pPr marL="0" indent="0" rtl="0">
              <a:buNone/>
              <a:defRPr b="1">
                <a:latin typeface="+mj-lt"/>
              </a:defRPr>
            </a:lvl2pPr>
            <a:lvl3pPr marL="0" indent="0" rtl="0">
              <a:buNone/>
              <a:defRPr>
                <a:latin typeface="+mj-lt"/>
              </a:defRPr>
            </a:lvl3pPr>
          </a:lstStyle>
          <a:p>
            <a:pPr lvl="0"/>
            <a:r>
              <a:rPr lang="en-US" noProof="0"/>
              <a:t>No.</a:t>
            </a:r>
          </a:p>
          <a:p>
            <a:pPr lvl="1"/>
            <a:r>
              <a:rPr lang="en-US" noProof="0"/>
              <a:t>Chapter</a:t>
            </a:r>
          </a:p>
          <a:p>
            <a:pPr lvl="2"/>
            <a:r>
              <a:rPr lang="en-US" noProof="0"/>
              <a:t>Topic</a:t>
            </a:r>
          </a:p>
        </p:txBody>
      </p:sp>
      <p:sp>
        <p:nvSpPr>
          <p:cNvPr id="17" name="Chapter 5">
            <a:extLst>
              <a:ext uri="{FF2B5EF4-FFF2-40B4-BE49-F238E27FC236}">
                <a16:creationId xmlns:a16="http://schemas.microsoft.com/office/drawing/2014/main" id="{018C79BC-8598-41F5-B6E1-0DB86A5FC94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930732" y="3862388"/>
            <a:ext cx="2160000" cy="2016000"/>
          </a:xfrm>
        </p:spPr>
        <p:txBody>
          <a:bodyPr lIns="180000" tIns="108000"/>
          <a:lstStyle>
            <a:lvl1pPr rtl="0">
              <a:lnSpc>
                <a:spcPct val="90000"/>
              </a:lnSpc>
              <a:spcAft>
                <a:spcPts val="1500"/>
              </a:spcAft>
              <a:defRPr sz="7200" b="1">
                <a:latin typeface="+mj-lt"/>
                <a:cs typeface="Times New Roman" panose="02020603050405020304" pitchFamily="18" charset="0"/>
              </a:defRPr>
            </a:lvl1pPr>
            <a:lvl2pPr marL="0" indent="0" rtl="0">
              <a:buNone/>
              <a:defRPr b="1">
                <a:latin typeface="+mj-lt"/>
              </a:defRPr>
            </a:lvl2pPr>
            <a:lvl3pPr marL="0" indent="0" rtl="0">
              <a:buNone/>
              <a:defRPr>
                <a:latin typeface="+mj-lt"/>
              </a:defRPr>
            </a:lvl3pPr>
          </a:lstStyle>
          <a:p>
            <a:pPr lvl="0"/>
            <a:r>
              <a:rPr lang="en-US" noProof="0"/>
              <a:t>No.</a:t>
            </a:r>
          </a:p>
          <a:p>
            <a:pPr lvl="1"/>
            <a:r>
              <a:rPr lang="en-US" noProof="0"/>
              <a:t>Chapter</a:t>
            </a:r>
          </a:p>
          <a:p>
            <a:pPr lvl="2"/>
            <a:r>
              <a:rPr lang="en-US" noProof="0"/>
              <a:t>Topic</a:t>
            </a:r>
          </a:p>
        </p:txBody>
      </p:sp>
      <p:sp>
        <p:nvSpPr>
          <p:cNvPr id="18" name="Chapter 6">
            <a:extLst>
              <a:ext uri="{FF2B5EF4-FFF2-40B4-BE49-F238E27FC236}">
                <a16:creationId xmlns:a16="http://schemas.microsoft.com/office/drawing/2014/main" id="{92BB5C0A-7CAC-4620-92E5-253BEFF2D66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234400" y="3862388"/>
            <a:ext cx="2160000" cy="2016000"/>
          </a:xfrm>
        </p:spPr>
        <p:txBody>
          <a:bodyPr lIns="180000" tIns="108000"/>
          <a:lstStyle>
            <a:lvl1pPr rtl="0">
              <a:lnSpc>
                <a:spcPct val="90000"/>
              </a:lnSpc>
              <a:spcAft>
                <a:spcPts val="1500"/>
              </a:spcAft>
              <a:defRPr sz="7200" b="1">
                <a:latin typeface="+mj-lt"/>
                <a:cs typeface="Times New Roman" panose="02020603050405020304" pitchFamily="18" charset="0"/>
              </a:defRPr>
            </a:lvl1pPr>
            <a:lvl2pPr marL="0" indent="0" rtl="0">
              <a:buNone/>
              <a:defRPr b="1">
                <a:latin typeface="+mj-lt"/>
              </a:defRPr>
            </a:lvl2pPr>
            <a:lvl3pPr marL="0" indent="0" rtl="0">
              <a:buNone/>
              <a:defRPr>
                <a:latin typeface="+mj-lt"/>
              </a:defRPr>
            </a:lvl3pPr>
          </a:lstStyle>
          <a:p>
            <a:pPr lvl="0"/>
            <a:r>
              <a:rPr lang="en-US" noProof="0"/>
              <a:t>No.</a:t>
            </a:r>
          </a:p>
          <a:p>
            <a:pPr lvl="1"/>
            <a:r>
              <a:rPr lang="en-US" noProof="0"/>
              <a:t>Chapter</a:t>
            </a:r>
          </a:p>
          <a:p>
            <a:pPr lvl="2"/>
            <a:r>
              <a:rPr lang="en-US" noProof="0"/>
              <a:t>Topic</a:t>
            </a:r>
          </a:p>
        </p:txBody>
      </p:sp>
      <p:sp>
        <p:nvSpPr>
          <p:cNvPr id="3" name="Date">
            <a:extLst>
              <a:ext uri="{FF2B5EF4-FFF2-40B4-BE49-F238E27FC236}">
                <a16:creationId xmlns:a16="http://schemas.microsoft.com/office/drawing/2014/main" id="{4BEA8033-56A0-4F47-9018-9C7D7CE40535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5" name="Footer">
            <a:extLst>
              <a:ext uri="{FF2B5EF4-FFF2-40B4-BE49-F238E27FC236}">
                <a16:creationId xmlns:a16="http://schemas.microsoft.com/office/drawing/2014/main" id="{BEF13B2C-DEFE-41B2-9CC0-1FA45BF6271A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6242400" y="6526800"/>
            <a:ext cx="5950800" cy="33120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Restricted © Siemens Gamesa Renewable Energy, YYYY | Author | Department</a:t>
            </a:r>
            <a:endParaRPr lang="en-GB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9530C658-0DEB-4057-A00C-913321EE2E10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 rtl="0">
              <a:defRPr/>
            </a:lvl1pPr>
          </a:lstStyle>
          <a:p>
            <a:fld id="{E5B0116A-0D09-4E99-8C69-B4C15A5D8A2B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760905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EB33C1D-8DE3-4493-AE5B-DE6790E5B5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56202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5" progId="TCLayout.ActiveDocument.1">
                  <p:embed/>
                </p:oleObj>
              </mc:Choice>
              <mc:Fallback>
                <p:oleObj name="think-cell Slid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9EB33C1D-8DE3-4493-AE5B-DE6790E5B5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>
            <a:extLst>
              <a:ext uri="{FF2B5EF4-FFF2-40B4-BE49-F238E27FC236}">
                <a16:creationId xmlns:a16="http://schemas.microsoft.com/office/drawing/2014/main" id="{0F0A4C4D-EAF6-4487-9B40-402A183189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">
            <a:extLst>
              <a:ext uri="{FF2B5EF4-FFF2-40B4-BE49-F238E27FC236}">
                <a16:creationId xmlns:a16="http://schemas.microsoft.com/office/drawing/2014/main" id="{F67CA5B2-50C3-4CD9-8B4C-E01E3FA2BF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4" name="Footer">
            <a:extLst>
              <a:ext uri="{FF2B5EF4-FFF2-40B4-BE49-F238E27FC236}">
                <a16:creationId xmlns:a16="http://schemas.microsoft.com/office/drawing/2014/main" id="{31B06ECE-1956-43EC-B964-0B147C3410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42400" y="6526800"/>
            <a:ext cx="5950800" cy="33120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Restricted © Siemens Gamesa Renewable Energy, YYYY | Author | Department</a:t>
            </a:r>
            <a:endParaRPr lang="en-GB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7CB8CD93-22FF-4A87-AB84-EB4F17D609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E5B0116A-0D09-4E99-8C69-B4C15A5D8A2B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0801265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 color fi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7BF44D3F-EA7F-4840-B718-F073321AB5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4098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5" progId="TCLayout.ActiveDocument.1">
                  <p:embed/>
                </p:oleObj>
              </mc:Choice>
              <mc:Fallback>
                <p:oleObj name="think-cell Slide" r:id="rId3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7BF44D3F-EA7F-4840-B718-F073321AB5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ackground">
            <a:extLst>
              <a:ext uri="{FF2B5EF4-FFF2-40B4-BE49-F238E27FC236}">
                <a16:creationId xmlns:a16="http://schemas.microsoft.com/office/drawing/2014/main" id="{0A44E71F-B859-4008-8A5B-83A328EBFCDD}"/>
              </a:ext>
            </a:extLst>
          </p:cNvPr>
          <p:cNvSpPr/>
          <p:nvPr userDrawn="1"/>
        </p:nvSpPr>
        <p:spPr bwMode="ltGray">
          <a:xfrm>
            <a:off x="0" y="1414800"/>
            <a:ext cx="12191999" cy="47529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ED8BA2A0-402B-4423-B445-CE1431A1C1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">
            <a:extLst>
              <a:ext uri="{FF2B5EF4-FFF2-40B4-BE49-F238E27FC236}">
                <a16:creationId xmlns:a16="http://schemas.microsoft.com/office/drawing/2014/main" id="{B4CF31EB-EA35-444B-8FEB-3005A9E1B8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5" name="Footer">
            <a:extLst>
              <a:ext uri="{FF2B5EF4-FFF2-40B4-BE49-F238E27FC236}">
                <a16:creationId xmlns:a16="http://schemas.microsoft.com/office/drawing/2014/main" id="{3C72C227-5CEF-4B87-A841-1B18024C65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42400" y="6526800"/>
            <a:ext cx="5950800" cy="33120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Restricted © Siemens Gamesa Renewable Energy, YYYY | Author | Department</a:t>
            </a:r>
            <a:endParaRPr lang="en-GB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B327718F-4836-4190-A051-4EF7D99600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E5B0116A-0D09-4E99-8C69-B4C15A5D8A2B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3719051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FEF05A7-7B1D-40DD-BD42-5F5B804558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51341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5" progId="TCLayout.ActiveDocument.1">
                  <p:embed/>
                </p:oleObj>
              </mc:Choice>
              <mc:Fallback>
                <p:oleObj name="think-cell Slide" r:id="rId3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FEF05A7-7B1D-40DD-BD42-5F5B804558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ackground">
            <a:extLst>
              <a:ext uri="{FF2B5EF4-FFF2-40B4-BE49-F238E27FC236}">
                <a16:creationId xmlns:a16="http://schemas.microsoft.com/office/drawing/2014/main" id="{A6102796-3A6D-4504-AE4D-6DAD764461A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414800"/>
            <a:ext cx="12191999" cy="4752975"/>
          </a:xfrm>
        </p:spPr>
        <p:txBody>
          <a:bodyPr lIns="626400" tIns="252000" rIns="144000" bIns="252000"/>
          <a:lstStyle>
            <a:lvl1pPr rtl="0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C7ACECF9-920E-4760-B49D-8F2920649E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">
            <a:extLst>
              <a:ext uri="{FF2B5EF4-FFF2-40B4-BE49-F238E27FC236}">
                <a16:creationId xmlns:a16="http://schemas.microsoft.com/office/drawing/2014/main" id="{39C3436A-6F82-487C-A217-F49F86FE6053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4" name="Footer">
            <a:extLst>
              <a:ext uri="{FF2B5EF4-FFF2-40B4-BE49-F238E27FC236}">
                <a16:creationId xmlns:a16="http://schemas.microsoft.com/office/drawing/2014/main" id="{C3C4D3B9-55F9-4A03-BFF5-63CAB8A8B0D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6242400" y="6526800"/>
            <a:ext cx="5950800" cy="33120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Restricted © Siemens Gamesa Renewable Energy, YYYY | Author | Department</a:t>
            </a:r>
            <a:endParaRPr lang="en-GB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FAAF52BA-406D-4DB9-A8CF-6DBDD9150FF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rtl="0">
              <a:defRPr/>
            </a:lvl1pPr>
          </a:lstStyle>
          <a:p>
            <a:fld id="{E5B0116A-0D09-4E99-8C69-B4C15A5D8A2B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6963363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ngle large image without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8163DDD-F05F-439E-8A8F-3CA3A27B7A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04986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5" progId="TCLayout.ActiveDocument.1">
                  <p:embed/>
                </p:oleObj>
              </mc:Choice>
              <mc:Fallback>
                <p:oleObj name="think-cell Slide" r:id="rId3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8163DDD-F05F-439E-8A8F-3CA3A27B7A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Image">
            <a:extLst>
              <a:ext uri="{FF2B5EF4-FFF2-40B4-BE49-F238E27FC236}">
                <a16:creationId xmlns:a16="http://schemas.microsoft.com/office/drawing/2014/main" id="{A6102796-3A6D-4504-AE4D-6DAD764461A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414800"/>
            <a:ext cx="12192000" cy="5443199"/>
          </a:xfrm>
        </p:spPr>
        <p:txBody>
          <a:bodyPr lIns="626400" tIns="252000" rIns="144000" bIns="252000"/>
          <a:lstStyle>
            <a:lvl1pPr rtl="0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BD694A34-C7CA-48AB-8D23-B8EABFB088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">
            <a:extLst>
              <a:ext uri="{FF2B5EF4-FFF2-40B4-BE49-F238E27FC236}">
                <a16:creationId xmlns:a16="http://schemas.microsoft.com/office/drawing/2014/main" id="{ADF9EABB-0C7B-4430-B380-F7B43E4CE9F4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Footer">
            <a:extLst>
              <a:ext uri="{FF2B5EF4-FFF2-40B4-BE49-F238E27FC236}">
                <a16:creationId xmlns:a16="http://schemas.microsoft.com/office/drawing/2014/main" id="{0EAF6209-CEC7-4DCC-8785-0AB8C2630F2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6242400" y="6526800"/>
            <a:ext cx="5950800" cy="331200"/>
          </a:xfrm>
          <a:prstGeom prst="rect">
            <a:avLst/>
          </a:prstGeo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Restricted © Siemens Gamesa Renewable Energy, YYYY | Author | Department</a:t>
            </a:r>
            <a:endParaRPr lang="en-GB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12A79F23-7B94-461F-825D-D51556484F8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E5B0116A-0D09-4E99-8C69-B4C15A5D8A2B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7695391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17019DE2-CB66-4A62-BFF7-D8E1BD61ED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2785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5" progId="TCLayout.ActiveDocument.1">
                  <p:embed/>
                </p:oleObj>
              </mc:Choice>
              <mc:Fallback>
                <p:oleObj name="think-cell Slide" r:id="rId3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17019DE2-CB66-4A62-BFF7-D8E1BD61ED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Image">
            <a:extLst>
              <a:ext uri="{FF2B5EF4-FFF2-40B4-BE49-F238E27FC236}">
                <a16:creationId xmlns:a16="http://schemas.microsoft.com/office/drawing/2014/main" id="{A6102796-3A6D-4504-AE4D-6DAD764461A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 lIns="626400" tIns="234000" rIns="482400" bIns="626400" anchor="b" anchorCtr="0"/>
          <a:lstStyle>
            <a:lvl1pPr algn="r" rtl="0">
              <a:defRPr/>
            </a:lvl1pPr>
          </a:lstStyle>
          <a:p>
            <a:r>
              <a:rPr lang="en-US"/>
              <a:t>Click on the icon to add a </a:t>
            </a:r>
            <a:br>
              <a:rPr lang="en-US"/>
            </a:br>
            <a:r>
              <a:rPr lang="en-US"/>
              <a:t>sufficiently high-contrast image </a:t>
            </a:r>
            <a:br>
              <a:rPr lang="en-US"/>
            </a:br>
            <a:r>
              <a:rPr lang="en-US"/>
              <a:t>so that the heading is easy to read.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0C12949-F421-4D93-A5FF-4A495FF402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">
            <a:extLst>
              <a:ext uri="{FF2B5EF4-FFF2-40B4-BE49-F238E27FC236}">
                <a16:creationId xmlns:a16="http://schemas.microsoft.com/office/drawing/2014/main" id="{3FFD41C4-7798-4F0E-9427-CEB787854EC3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Footer">
            <a:extLst>
              <a:ext uri="{FF2B5EF4-FFF2-40B4-BE49-F238E27FC236}">
                <a16:creationId xmlns:a16="http://schemas.microsoft.com/office/drawing/2014/main" id="{6146635E-18DA-497C-98DD-F1006A71366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6242400" y="6526800"/>
            <a:ext cx="5950800" cy="331200"/>
          </a:xfrm>
          <a:prstGeom prst="rect">
            <a:avLst/>
          </a:prstGeo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© Siemens Gamesa Renewable Energy, YYYY | Author | Department</a:t>
            </a:r>
            <a:endParaRPr lang="en-GB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B81AB199-8A65-4B51-8E16-0D550E61429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fld id="{E5B0116A-0D09-4E99-8C69-B4C15A5D8A2B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516814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AF22E9D5-B56F-440F-9D39-61B846A42B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08019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5" progId="TCLayout.ActiveDocument.1">
                  <p:embed/>
                </p:oleObj>
              </mc:Choice>
              <mc:Fallback>
                <p:oleObj name="think-cell Slide" r:id="rId3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AF22E9D5-B56F-440F-9D39-61B846A42B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Image">
            <a:extLst>
              <a:ext uri="{FF2B5EF4-FFF2-40B4-BE49-F238E27FC236}">
                <a16:creationId xmlns:a16="http://schemas.microsoft.com/office/drawing/2014/main" id="{A6102796-3A6D-4504-AE4D-6DAD764461A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accent6"/>
          </a:solidFill>
        </p:spPr>
        <p:txBody>
          <a:bodyPr lIns="626400" tIns="234000" rIns="482400" bIns="626400" anchor="b" anchorCtr="0"/>
          <a:lstStyle>
            <a:lvl1pPr algn="r" rtl="0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on the icon to add a </a:t>
            </a:r>
            <a:br>
              <a:rPr lang="en-US"/>
            </a:br>
            <a:r>
              <a:rPr lang="en-US"/>
              <a:t>sufficiently high-contrast image </a:t>
            </a:r>
            <a:br>
              <a:rPr lang="en-US"/>
            </a:br>
            <a:r>
              <a:rPr lang="en-US"/>
              <a:t>so that the heading is easy to read.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B7679BF-476B-4936-B87E-CF0BADD38D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50" y="4798"/>
            <a:ext cx="6235700" cy="5873715"/>
          </a:xfrm>
          <a:noFill/>
        </p:spPr>
        <p:txBody>
          <a:bodyPr vert="horz" lIns="626400" tIns="900000" rIns="0" bIns="0" anchor="t"/>
          <a:lstStyle>
            <a:lvl1pPr algn="l" rtl="0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Big statement on a full size picture</a:t>
            </a:r>
          </a:p>
        </p:txBody>
      </p:sp>
      <p:sp>
        <p:nvSpPr>
          <p:cNvPr id="3" name="Date">
            <a:extLst>
              <a:ext uri="{FF2B5EF4-FFF2-40B4-BE49-F238E27FC236}">
                <a16:creationId xmlns:a16="http://schemas.microsoft.com/office/drawing/2014/main" id="{2F9AFBA0-B0CE-45B5-88B6-DE3218829193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4" name="Footer">
            <a:extLst>
              <a:ext uri="{FF2B5EF4-FFF2-40B4-BE49-F238E27FC236}">
                <a16:creationId xmlns:a16="http://schemas.microsoft.com/office/drawing/2014/main" id="{73228AD8-2A25-47E7-8F81-CD865320042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6242400" y="6526800"/>
            <a:ext cx="5950800" cy="33120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Restricted © Siemens Gamesa Renewable Energy, YYYY | Author | Department</a:t>
            </a:r>
            <a:endParaRPr lang="en-GB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3B26BEEC-5011-47EF-BE73-4BA6F7F255A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rtl="0">
              <a:defRPr/>
            </a:lvl1pPr>
          </a:lstStyle>
          <a:p>
            <a:fld id="{E5B0116A-0D09-4E99-8C69-B4C15A5D8A2B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41935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BD3781E-F775-4029-9EA5-F3D8027CA8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23887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5" progId="TCLayout.ActiveDocument.1">
                  <p:embed/>
                </p:oleObj>
              </mc:Choice>
              <mc:Fallback>
                <p:oleObj name="think-cell Slide" r:id="rId3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BD3781E-F775-4029-9EA5-F3D8027CA8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>
            <a:extLst>
              <a:ext uri="{FF2B5EF4-FFF2-40B4-BE49-F238E27FC236}">
                <a16:creationId xmlns:a16="http://schemas.microsoft.com/office/drawing/2014/main" id="{C396FC1D-DB7A-4E51-83A7-D7995F9EE9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Date">
            <a:extLst>
              <a:ext uri="{FF2B5EF4-FFF2-40B4-BE49-F238E27FC236}">
                <a16:creationId xmlns:a16="http://schemas.microsoft.com/office/drawing/2014/main" id="{6115F919-D2A7-4827-A9DB-C87D475626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5" name="Footer">
            <a:extLst>
              <a:ext uri="{FF2B5EF4-FFF2-40B4-BE49-F238E27FC236}">
                <a16:creationId xmlns:a16="http://schemas.microsoft.com/office/drawing/2014/main" id="{2AE69DAE-225B-467B-A517-4DA600FF90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42400" y="6526800"/>
            <a:ext cx="5950800" cy="33120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Restricted © Siemens Gamesa Renewable Energy, YYYY | Author | Department</a:t>
            </a:r>
            <a:endParaRPr lang="en-GB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C83C16CC-F4F7-4574-9F9E-91E711A23E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70824" y="6526800"/>
            <a:ext cx="828000" cy="331200"/>
          </a:xfrm>
        </p:spPr>
        <p:txBody>
          <a:bodyPr/>
          <a:lstStyle>
            <a:lvl1pPr rtl="0">
              <a:defRPr/>
            </a:lvl1pPr>
          </a:lstStyle>
          <a:p>
            <a:fld id="{E5B0116A-0D09-4E99-8C69-B4C15A5D8A2B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68842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picture onshore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052F1E00-0A46-414A-BC0E-78D56E3734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49743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052F1E00-0A46-414A-BC0E-78D56E3734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>
            <a:extLst>
              <a:ext uri="{FF2B5EF4-FFF2-40B4-BE49-F238E27FC236}">
                <a16:creationId xmlns:a16="http://schemas.microsoft.com/office/drawing/2014/main" id="{1F2FA311-750F-4E7F-BE77-CF1087F50C1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rtl="0"/>
            <a:endParaRPr lang="en-US">
              <a:solidFill>
                <a:schemeClr val="tx1"/>
              </a:solidFill>
            </a:endParaRPr>
          </a:p>
        </p:txBody>
      </p:sp>
      <p:pic>
        <p:nvPicPr>
          <p:cNvPr id="14" name="Grafik 13" descr="Ein Bild, das Windmühle, Outdoorobjekt enthält.&#10;&#10;Automatisch generierte Beschreibung">
            <a:extLst>
              <a:ext uri="{FF2B5EF4-FFF2-40B4-BE49-F238E27FC236}">
                <a16:creationId xmlns:a16="http://schemas.microsoft.com/office/drawing/2014/main" id="{A4670425-4913-46B1-99B5-947754FF4AC1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F315FD56-F1CA-46FA-BF03-921F8636C1B1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663113" y="403233"/>
            <a:ext cx="2051050" cy="330512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vert="horz" lIns="0" tIns="0" bIns="0" anchor="b"/>
          <a:lstStyle>
            <a:lvl1pPr algn="l" rtl="0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27064" y="4528800"/>
            <a:ext cx="5614986" cy="899252"/>
          </a:xfrm>
        </p:spPr>
        <p:txBody>
          <a:bodyPr lIns="0" tIns="108000" anchor="t">
            <a:noAutofit/>
          </a:bodyPr>
          <a:lstStyle>
            <a:lvl1pPr marL="0" indent="0" algn="l" rtl="0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Month 2020</a:t>
            </a:r>
          </a:p>
        </p:txBody>
      </p:sp>
      <p:sp>
        <p:nvSpPr>
          <p:cNvPr id="9" name="Footer">
            <a:extLst>
              <a:ext uri="{FF2B5EF4-FFF2-40B4-BE49-F238E27FC236}">
                <a16:creationId xmlns:a16="http://schemas.microsoft.com/office/drawing/2014/main" id="{9DFBD7CA-A08A-40C9-B9D2-86C2E3BC25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08400" y="6526800"/>
            <a:ext cx="8484800" cy="170333"/>
          </a:xfrm>
          <a:prstGeom prst="rect">
            <a:avLst/>
          </a:prstGeom>
        </p:spPr>
        <p:txBody>
          <a:bodyPr vert="horz" lIns="0" tIns="0" rIns="835200" bIns="0" rtlCol="0" anchor="t"/>
          <a:lstStyle>
            <a:lvl1pPr algn="r" rtl="0">
              <a:defRPr lang="en-US" sz="1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Restricted © Siemens Gamesa Renewable Energy, YYYY | Author | Departmen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518418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7F49CFAB-A502-4EF9-B2D8-D175168AEC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3358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5" progId="TCLayout.ActiveDocument.1">
                  <p:embed/>
                </p:oleObj>
              </mc:Choice>
              <mc:Fallback>
                <p:oleObj name="think-cell Slide" r:id="rId3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7F49CFAB-A502-4EF9-B2D8-D175168AEC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>
            <a:extLst>
              <a:ext uri="{FF2B5EF4-FFF2-40B4-BE49-F238E27FC236}">
                <a16:creationId xmlns:a16="http://schemas.microsoft.com/office/drawing/2014/main" id="{3A07FC25-F4AA-44AB-A199-BEA168878E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3" y="1414800"/>
            <a:ext cx="6912000" cy="4752975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Date">
            <a:extLst>
              <a:ext uri="{FF2B5EF4-FFF2-40B4-BE49-F238E27FC236}">
                <a16:creationId xmlns:a16="http://schemas.microsoft.com/office/drawing/2014/main" id="{38177D17-482A-495C-9006-2828BD380B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5" name="Footer">
            <a:extLst>
              <a:ext uri="{FF2B5EF4-FFF2-40B4-BE49-F238E27FC236}">
                <a16:creationId xmlns:a16="http://schemas.microsoft.com/office/drawing/2014/main" id="{AD5FE588-63B7-4683-A4C3-A376FBC9D5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42400" y="6526800"/>
            <a:ext cx="5950800" cy="33120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Restricted © Siemens Gamesa Renewable Energy, YYYY | Author | Department</a:t>
            </a:r>
            <a:endParaRPr lang="en-GB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911E0E2E-08BB-45ED-876E-F692C77113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E5B0116A-0D09-4E99-8C69-B4C15A5D8A2B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0092019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8C2630F-2380-4F44-8590-81D2758FFB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931011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5" progId="TCLayout.ActiveDocument.1">
                  <p:embed/>
                </p:oleObj>
              </mc:Choice>
              <mc:Fallback>
                <p:oleObj name="think-cell Slide" r:id="rId3" imgW="344" imgH="34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88C2630F-2380-4F44-8590-81D2758FFB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>
            <a:extLst>
              <a:ext uri="{FF2B5EF4-FFF2-40B4-BE49-F238E27FC236}">
                <a16:creationId xmlns:a16="http://schemas.microsoft.com/office/drawing/2014/main" id="{3A07FC25-F4AA-44AB-A199-BEA168878E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3" y="1414800"/>
            <a:ext cx="6912000" cy="4752975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Date">
            <a:extLst>
              <a:ext uri="{FF2B5EF4-FFF2-40B4-BE49-F238E27FC236}">
                <a16:creationId xmlns:a16="http://schemas.microsoft.com/office/drawing/2014/main" id="{403C0EB4-1B53-4B8F-9740-38C1F1FBC9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7" name="Footer">
            <a:extLst>
              <a:ext uri="{FF2B5EF4-FFF2-40B4-BE49-F238E27FC236}">
                <a16:creationId xmlns:a16="http://schemas.microsoft.com/office/drawing/2014/main" id="{55925FA6-8423-4CD0-8733-9EA0DDBA1A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42400" y="6526800"/>
            <a:ext cx="5950800" cy="33120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Restricted © Siemens Gamesa Renewable Energy, YYYY | Author | Department</a:t>
            </a:r>
            <a:endParaRPr lang="en-GB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2D88C0A6-7202-4D95-BB1D-396CBCC401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E5B0116A-0D09-4E99-8C69-B4C15A5D8A2B}" type="slidenum">
              <a:rPr lang="en-GB" smtClean="0"/>
              <a:pPr/>
              <a:t>‹nr.›</a:t>
            </a:fld>
            <a:endParaRPr lang="en-GB"/>
          </a:p>
        </p:txBody>
      </p:sp>
      <p:pic>
        <p:nvPicPr>
          <p:cNvPr id="10" name="Picture 13">
            <a:extLst>
              <a:ext uri="{FF2B5EF4-FFF2-40B4-BE49-F238E27FC236}">
                <a16:creationId xmlns:a16="http://schemas.microsoft.com/office/drawing/2014/main" id="{8E6C8C65-3C88-45F6-A5F2-0638775D8A7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663113" y="403233"/>
            <a:ext cx="2051050" cy="330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196960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9EDAA150-66BA-4EF9-97D7-DCFD9C7279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8063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5" progId="TCLayout.ActiveDocument.1">
                  <p:embed/>
                </p:oleObj>
              </mc:Choice>
              <mc:Fallback>
                <p:oleObj name="think-cell Slid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9EDAA150-66BA-4EF9-97D7-DCFD9C7279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>
            <a:extLst>
              <a:ext uri="{FF2B5EF4-FFF2-40B4-BE49-F238E27FC236}">
                <a16:creationId xmlns:a16="http://schemas.microsoft.com/office/drawing/2014/main" id="{053AF9F3-C036-494E-93A9-EEB85375F3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4" y="1414800"/>
            <a:ext cx="5472112" cy="4752975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Copy 2">
            <a:extLst>
              <a:ext uri="{FF2B5EF4-FFF2-40B4-BE49-F238E27FC236}">
                <a16:creationId xmlns:a16="http://schemas.microsoft.com/office/drawing/2014/main" id="{CF25AA35-A10D-4021-80D5-F4E01F03217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42048" y="1414800"/>
            <a:ext cx="5472000" cy="4752975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Date">
            <a:extLst>
              <a:ext uri="{FF2B5EF4-FFF2-40B4-BE49-F238E27FC236}">
                <a16:creationId xmlns:a16="http://schemas.microsoft.com/office/drawing/2014/main" id="{AC6E2027-C772-42AD-984D-7A3556335C6F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5" name="Footer">
            <a:extLst>
              <a:ext uri="{FF2B5EF4-FFF2-40B4-BE49-F238E27FC236}">
                <a16:creationId xmlns:a16="http://schemas.microsoft.com/office/drawing/2014/main" id="{F381C935-780D-4012-B178-FB5E7271645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42400" y="6526800"/>
            <a:ext cx="5950800" cy="33120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Restricted © Siemens Gamesa Renewable Energy, YYYY | Author | Department</a:t>
            </a:r>
            <a:endParaRPr lang="en-GB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E6CD01A0-91A7-4373-AA3C-DD67B39EAA1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fld id="{E5B0116A-0D09-4E99-8C69-B4C15A5D8A2B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8452723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762E9305-0078-4D5A-8257-D02FB50694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78459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5" progId="TCLayout.ActiveDocument.1">
                  <p:embed/>
                </p:oleObj>
              </mc:Choice>
              <mc:Fallback>
                <p:oleObj name="think-cell Slide" r:id="rId3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762E9305-0078-4D5A-8257-D02FB50694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>
            <a:extLst>
              <a:ext uri="{FF2B5EF4-FFF2-40B4-BE49-F238E27FC236}">
                <a16:creationId xmlns:a16="http://schemas.microsoft.com/office/drawing/2014/main" id="{06F8B4D2-6F05-469C-8BE4-52BAC6D34B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4" y="1414800"/>
            <a:ext cx="5472000" cy="4752975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Image 1">
            <a:extLst>
              <a:ext uri="{FF2B5EF4-FFF2-40B4-BE49-F238E27FC236}">
                <a16:creationId xmlns:a16="http://schemas.microsoft.com/office/drawing/2014/main" id="{1F47DA09-C1B9-4F79-811C-47680DD13F0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242049" y="1414800"/>
            <a:ext cx="5472000" cy="2305049"/>
          </a:xfrm>
        </p:spPr>
        <p:txBody>
          <a:bodyPr lIns="144000" tIns="144000" rIns="144000" bIns="144000"/>
          <a:lstStyle>
            <a:lvl1pPr rtl="0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Image 2">
            <a:extLst>
              <a:ext uri="{FF2B5EF4-FFF2-40B4-BE49-F238E27FC236}">
                <a16:creationId xmlns:a16="http://schemas.microsoft.com/office/drawing/2014/main" id="{B62DCAC0-0A0A-4FD1-9E6A-DFB48F5EAA1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242049" y="3862725"/>
            <a:ext cx="5472000" cy="2305050"/>
          </a:xfrm>
        </p:spPr>
        <p:txBody>
          <a:bodyPr lIns="144000" tIns="144000" rIns="144000" bIns="144000" anchor="b" anchorCtr="0"/>
          <a:lstStyle>
            <a:lvl1pPr rtl="0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Date">
            <a:extLst>
              <a:ext uri="{FF2B5EF4-FFF2-40B4-BE49-F238E27FC236}">
                <a16:creationId xmlns:a16="http://schemas.microsoft.com/office/drawing/2014/main" id="{1FCABBC9-3B39-4120-9E36-C1B10AF3BA65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5" name="Footer">
            <a:extLst>
              <a:ext uri="{FF2B5EF4-FFF2-40B4-BE49-F238E27FC236}">
                <a16:creationId xmlns:a16="http://schemas.microsoft.com/office/drawing/2014/main" id="{7C140787-C6C2-478B-AC12-0F161894B6F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42400" y="6526800"/>
            <a:ext cx="5950800" cy="33120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Restricted © Siemens Gamesa Renewable Energy, YYYY | Author | Department</a:t>
            </a:r>
            <a:endParaRPr lang="en-GB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B1562448-5834-43F6-984A-69EC84B3453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fld id="{E5B0116A-0D09-4E99-8C69-B4C15A5D8A2B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0116318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two imag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4474273-1A72-4BD9-9720-8FD2A5AA3D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5322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5" progId="TCLayout.ActiveDocument.1">
                  <p:embed/>
                </p:oleObj>
              </mc:Choice>
              <mc:Fallback>
                <p:oleObj name="think-cell Slide" r:id="rId3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34474273-1A72-4BD9-9720-8FD2A5AA3D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>
            <a:extLst>
              <a:ext uri="{FF2B5EF4-FFF2-40B4-BE49-F238E27FC236}">
                <a16:creationId xmlns:a16="http://schemas.microsoft.com/office/drawing/2014/main" id="{68888810-CDD3-4B31-A4AB-CEA6DE3D17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blackWhite">
          <a:xfrm>
            <a:off x="0" y="1414800"/>
            <a:ext cx="6099176" cy="4752975"/>
          </a:xfrm>
          <a:solidFill>
            <a:schemeClr val="accent1"/>
          </a:solidFill>
        </p:spPr>
        <p:txBody>
          <a:bodyPr lIns="626400" tIns="252000" rIns="144000" bIns="252000"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rtl="0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rtl="0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Image 1">
            <a:extLst>
              <a:ext uri="{FF2B5EF4-FFF2-40B4-BE49-F238E27FC236}">
                <a16:creationId xmlns:a16="http://schemas.microsoft.com/office/drawing/2014/main" id="{1F47DA09-C1B9-4F79-811C-47680DD13F0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242050" y="1414800"/>
            <a:ext cx="5949950" cy="2305049"/>
          </a:xfrm>
        </p:spPr>
        <p:txBody>
          <a:bodyPr lIns="144000" tIns="144000" rIns="144000" bIns="144000"/>
          <a:lstStyle>
            <a:lvl1pPr rtl="0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Image 2">
            <a:extLst>
              <a:ext uri="{FF2B5EF4-FFF2-40B4-BE49-F238E27FC236}">
                <a16:creationId xmlns:a16="http://schemas.microsoft.com/office/drawing/2014/main" id="{B62DCAC0-0A0A-4FD1-9E6A-DFB48F5EAA1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242050" y="3862725"/>
            <a:ext cx="5949950" cy="2305050"/>
          </a:xfrm>
        </p:spPr>
        <p:txBody>
          <a:bodyPr lIns="144000" tIns="144000" rIns="144000" bIns="144000" anchor="b" anchorCtr="0"/>
          <a:lstStyle>
            <a:lvl1pPr rtl="0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Date">
            <a:extLst>
              <a:ext uri="{FF2B5EF4-FFF2-40B4-BE49-F238E27FC236}">
                <a16:creationId xmlns:a16="http://schemas.microsoft.com/office/drawing/2014/main" id="{88A136D3-BF07-484B-9E26-71DF4D911611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5" name="Footer">
            <a:extLst>
              <a:ext uri="{FF2B5EF4-FFF2-40B4-BE49-F238E27FC236}">
                <a16:creationId xmlns:a16="http://schemas.microsoft.com/office/drawing/2014/main" id="{1B88261F-E8E4-490F-85AD-522429F7B2F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42400" y="6526800"/>
            <a:ext cx="5950800" cy="33120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Restricted © Siemens Gamesa Renewable Energy, YYYY | Author | Department</a:t>
            </a:r>
            <a:endParaRPr lang="en-GB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64B2C9E1-F700-445E-9204-8767956E2DB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fld id="{E5B0116A-0D09-4E99-8C69-B4C15A5D8A2B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6495407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A7346CC-B6EA-4A4C-8D29-52116B8382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35448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5" progId="TCLayout.ActiveDocument.1">
                  <p:embed/>
                </p:oleObj>
              </mc:Choice>
              <mc:Fallback>
                <p:oleObj name="think-cell Slid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A7346CC-B6EA-4A4C-8D29-52116B8382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>
            <a:extLst>
              <a:ext uri="{FF2B5EF4-FFF2-40B4-BE49-F238E27FC236}">
                <a16:creationId xmlns:a16="http://schemas.microsoft.com/office/drawing/2014/main" id="{C7ECFA6D-1332-4048-BA8C-6F8F3DE9B0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-1" y="1414800"/>
            <a:ext cx="8834437" cy="2305050"/>
          </a:xfrm>
        </p:spPr>
        <p:txBody>
          <a:bodyPr lIns="62640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Copy 2">
            <a:extLst>
              <a:ext uri="{FF2B5EF4-FFF2-40B4-BE49-F238E27FC236}">
                <a16:creationId xmlns:a16="http://schemas.microsoft.com/office/drawing/2014/main" id="{CF25AA35-A10D-4021-80D5-F4E01F03217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" y="3862800"/>
            <a:ext cx="8834437" cy="2305049"/>
          </a:xfrm>
        </p:spPr>
        <p:txBody>
          <a:bodyPr lIns="62640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Date">
            <a:extLst>
              <a:ext uri="{FF2B5EF4-FFF2-40B4-BE49-F238E27FC236}">
                <a16:creationId xmlns:a16="http://schemas.microsoft.com/office/drawing/2014/main" id="{BF731564-D121-411C-A639-649F24AADDCE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5" name="Footer">
            <a:extLst>
              <a:ext uri="{FF2B5EF4-FFF2-40B4-BE49-F238E27FC236}">
                <a16:creationId xmlns:a16="http://schemas.microsoft.com/office/drawing/2014/main" id="{269DC8D8-3EA7-4817-9C53-46CFD3E3EA4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42400" y="6526800"/>
            <a:ext cx="5950800" cy="33120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Restricted © Siemens Gamesa Renewable Energy, YYYY | Author | Department</a:t>
            </a:r>
            <a:endParaRPr lang="en-GB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34BF74D4-9EBB-405C-AC28-94CEFF21A94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fld id="{E5B0116A-0D09-4E99-8C69-B4C15A5D8A2B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5356554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5AE5E06C-B21A-4A41-9E7C-1DDB5B745C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71792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5" progId="TCLayout.ActiveDocument.1">
                  <p:embed/>
                </p:oleObj>
              </mc:Choice>
              <mc:Fallback>
                <p:oleObj name="think-cell Slide" r:id="rId3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5AE5E06C-B21A-4A41-9E7C-1DDB5B745C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>
            <a:extLst>
              <a:ext uri="{FF2B5EF4-FFF2-40B4-BE49-F238E27FC236}">
                <a16:creationId xmlns:a16="http://schemas.microsoft.com/office/drawing/2014/main" id="{0A4DED40-DA39-4014-8DEE-94AA5379A7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4" y="1414800"/>
            <a:ext cx="3600000" cy="4752974"/>
          </a:xfrm>
        </p:spPr>
        <p:txBody>
          <a:bodyPr l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Copy 2">
            <a:extLst>
              <a:ext uri="{FF2B5EF4-FFF2-40B4-BE49-F238E27FC236}">
                <a16:creationId xmlns:a16="http://schemas.microsoft.com/office/drawing/2014/main" id="{CF25AA35-A10D-4021-80D5-F4E01F03217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370614" y="1414800"/>
            <a:ext cx="3600000" cy="4752974"/>
          </a:xfrm>
        </p:spPr>
        <p:txBody>
          <a:bodyPr l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3">
            <a:extLst>
              <a:ext uri="{FF2B5EF4-FFF2-40B4-BE49-F238E27FC236}">
                <a16:creationId xmlns:a16="http://schemas.microsoft.com/office/drawing/2014/main" id="{7AD2072B-7BD2-4A0D-8491-4973B658502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8114163" y="1414800"/>
            <a:ext cx="3600000" cy="4752974"/>
          </a:xfrm>
        </p:spPr>
        <p:txBody>
          <a:bodyPr l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Date">
            <a:extLst>
              <a:ext uri="{FF2B5EF4-FFF2-40B4-BE49-F238E27FC236}">
                <a16:creationId xmlns:a16="http://schemas.microsoft.com/office/drawing/2014/main" id="{66F2CD3C-79DD-415D-B58C-FB34DEE2AC55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6" name="Footer">
            <a:extLst>
              <a:ext uri="{FF2B5EF4-FFF2-40B4-BE49-F238E27FC236}">
                <a16:creationId xmlns:a16="http://schemas.microsoft.com/office/drawing/2014/main" id="{E8ECC2DA-CA3B-4784-9489-58E57080D5B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6242400" y="6526800"/>
            <a:ext cx="5950800" cy="33120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Restricted © Siemens Gamesa Renewable Energy, YYYY | Author | Department</a:t>
            </a:r>
            <a:endParaRPr lang="en-GB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D515FD23-94DD-4C7D-A503-656BABF8E14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E5B0116A-0D09-4E99-8C69-B4C15A5D8A2B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004845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22" userDrawn="1">
          <p15:clr>
            <a:srgbClr val="009999"/>
          </p15:clr>
        </p15:guide>
        <p15:guide id="2" pos="5112" userDrawn="1">
          <p15:clr>
            <a:srgbClr val="009999"/>
          </p15:clr>
        </p15:guide>
        <p15:guide id="4" pos="2753" userDrawn="1">
          <p15:clr>
            <a:srgbClr val="009999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, 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879D45E4-46CD-4276-AB37-D3030C641E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99150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5" progId="TCLayout.ActiveDocument.1">
                  <p:embed/>
                </p:oleObj>
              </mc:Choice>
              <mc:Fallback>
                <p:oleObj name="think-cell Slide" r:id="rId3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879D45E4-46CD-4276-AB37-D3030C641E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>
            <a:extLst>
              <a:ext uri="{FF2B5EF4-FFF2-40B4-BE49-F238E27FC236}">
                <a16:creationId xmlns:a16="http://schemas.microsoft.com/office/drawing/2014/main" id="{7E041062-6E58-45A3-B6A1-92507B394B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4" y="1701798"/>
            <a:ext cx="3600000" cy="1584000"/>
          </a:xfrm>
        </p:spPr>
        <p:txBody>
          <a:bodyPr l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Copy 2">
            <a:extLst>
              <a:ext uri="{FF2B5EF4-FFF2-40B4-BE49-F238E27FC236}">
                <a16:creationId xmlns:a16="http://schemas.microsoft.com/office/drawing/2014/main" id="{CF25AA35-A10D-4021-80D5-F4E01F03217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370614" y="1701798"/>
            <a:ext cx="3600000" cy="1584000"/>
          </a:xfrm>
        </p:spPr>
        <p:txBody>
          <a:bodyPr l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3">
            <a:extLst>
              <a:ext uri="{FF2B5EF4-FFF2-40B4-BE49-F238E27FC236}">
                <a16:creationId xmlns:a16="http://schemas.microsoft.com/office/drawing/2014/main" id="{7AD2072B-7BD2-4A0D-8491-4973B658502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8114163" y="1701798"/>
            <a:ext cx="3600000" cy="1584000"/>
          </a:xfrm>
        </p:spPr>
        <p:txBody>
          <a:bodyPr l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Image 1">
            <a:extLst>
              <a:ext uri="{FF2B5EF4-FFF2-40B4-BE49-F238E27FC236}">
                <a16:creationId xmlns:a16="http://schemas.microsoft.com/office/drawing/2014/main" id="{D7FB36E4-9D48-40F9-8766-C9A9EB70724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27064" y="3285275"/>
            <a:ext cx="3600000" cy="2593238"/>
          </a:xfrm>
        </p:spPr>
        <p:txBody>
          <a:bodyPr lIns="144000" tIns="144000" rIns="144000" bIns="144000"/>
          <a:lstStyle>
            <a:lvl1pPr rtl="0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Image 2">
            <a:extLst>
              <a:ext uri="{FF2B5EF4-FFF2-40B4-BE49-F238E27FC236}">
                <a16:creationId xmlns:a16="http://schemas.microsoft.com/office/drawing/2014/main" id="{DB7AA95A-85B0-4FB5-A5A1-EA4243663C9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370614" y="3285275"/>
            <a:ext cx="3600000" cy="2593238"/>
          </a:xfrm>
        </p:spPr>
        <p:txBody>
          <a:bodyPr lIns="144000" tIns="144000" rIns="144000" bIns="144000"/>
          <a:lstStyle>
            <a:lvl1pPr rtl="0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Image 3">
            <a:extLst>
              <a:ext uri="{FF2B5EF4-FFF2-40B4-BE49-F238E27FC236}">
                <a16:creationId xmlns:a16="http://schemas.microsoft.com/office/drawing/2014/main" id="{5530F297-3088-4E70-982A-604343177BD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14163" y="3285275"/>
            <a:ext cx="3600000" cy="2593238"/>
          </a:xfrm>
        </p:spPr>
        <p:txBody>
          <a:bodyPr lIns="144000" tIns="144000" rIns="144000" bIns="144000"/>
          <a:lstStyle>
            <a:lvl1pPr rtl="0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Date">
            <a:extLst>
              <a:ext uri="{FF2B5EF4-FFF2-40B4-BE49-F238E27FC236}">
                <a16:creationId xmlns:a16="http://schemas.microsoft.com/office/drawing/2014/main" id="{64CD9D67-4188-4E61-A4E0-847685422FD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6" name="Footer">
            <a:extLst>
              <a:ext uri="{FF2B5EF4-FFF2-40B4-BE49-F238E27FC236}">
                <a16:creationId xmlns:a16="http://schemas.microsoft.com/office/drawing/2014/main" id="{70560A58-2575-4155-919E-CACDD0C2DD07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242400" y="6526800"/>
            <a:ext cx="5950800" cy="33120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Restricted © Siemens Gamesa Renewable Energy, YYYY | Author | Department</a:t>
            </a:r>
            <a:endParaRPr lang="en-GB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D063BF5-DC77-422B-BA57-03E4C264E2E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 rtl="0">
              <a:defRPr/>
            </a:lvl1pPr>
          </a:lstStyle>
          <a:p>
            <a:fld id="{E5B0116A-0D09-4E99-8C69-B4C15A5D8A2B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690496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22" userDrawn="1">
          <p15:clr>
            <a:srgbClr val="009999"/>
          </p15:clr>
        </p15:guide>
        <p15:guide id="2" pos="5112" userDrawn="1">
          <p15:clr>
            <a:srgbClr val="009999"/>
          </p15:clr>
        </p15:guide>
        <p15:guide id="4" pos="2753" userDrawn="1">
          <p15:clr>
            <a:srgbClr val="009999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A79BB207-6AE6-4DF9-8F8F-2F3AA4166C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707022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5" progId="TCLayout.ActiveDocument.1">
                  <p:embed/>
                </p:oleObj>
              </mc:Choice>
              <mc:Fallback>
                <p:oleObj name="think-cell Slide" r:id="rId3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A79BB207-6AE6-4DF9-8F8F-2F3AA4166C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>
            <a:extLst>
              <a:ext uri="{FF2B5EF4-FFF2-40B4-BE49-F238E27FC236}">
                <a16:creationId xmlns:a16="http://schemas.microsoft.com/office/drawing/2014/main" id="{80AC4C64-3556-4D13-9B77-531CC35C597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4" y="1414800"/>
            <a:ext cx="5472000" cy="2305049"/>
          </a:xfrm>
        </p:spPr>
        <p:txBody>
          <a:bodyPr l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Copy 2">
            <a:extLst>
              <a:ext uri="{FF2B5EF4-FFF2-40B4-BE49-F238E27FC236}">
                <a16:creationId xmlns:a16="http://schemas.microsoft.com/office/drawing/2014/main" id="{CF25AA35-A10D-4021-80D5-F4E01F03217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42050" y="1414800"/>
            <a:ext cx="5472000" cy="2305049"/>
          </a:xfrm>
        </p:spPr>
        <p:txBody>
          <a:bodyPr l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3">
            <a:extLst>
              <a:ext uri="{FF2B5EF4-FFF2-40B4-BE49-F238E27FC236}">
                <a16:creationId xmlns:a16="http://schemas.microsoft.com/office/drawing/2014/main" id="{7AD2072B-7BD2-4A0D-8491-4973B658502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7063" y="3862388"/>
            <a:ext cx="5472112" cy="2305049"/>
          </a:xfrm>
        </p:spPr>
        <p:txBody>
          <a:bodyPr l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Copy 4">
            <a:extLst>
              <a:ext uri="{FF2B5EF4-FFF2-40B4-BE49-F238E27FC236}">
                <a16:creationId xmlns:a16="http://schemas.microsoft.com/office/drawing/2014/main" id="{5ABA1728-CE60-4862-A32A-3E1550DB810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242050" y="3862388"/>
            <a:ext cx="5472000" cy="2305049"/>
          </a:xfrm>
        </p:spPr>
        <p:txBody>
          <a:bodyPr l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Date">
            <a:extLst>
              <a:ext uri="{FF2B5EF4-FFF2-40B4-BE49-F238E27FC236}">
                <a16:creationId xmlns:a16="http://schemas.microsoft.com/office/drawing/2014/main" id="{618EE6B1-343B-4853-A736-00905998E3B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8" name="Footer">
            <a:extLst>
              <a:ext uri="{FF2B5EF4-FFF2-40B4-BE49-F238E27FC236}">
                <a16:creationId xmlns:a16="http://schemas.microsoft.com/office/drawing/2014/main" id="{17873E06-DA8B-42CB-A4F6-66D71E16188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6242400" y="6526800"/>
            <a:ext cx="5950800" cy="33120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Restricted © Siemens Gamesa Renewable Energy, YYYY | Author | Department</a:t>
            </a:r>
            <a:endParaRPr lang="en-GB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A0FA6A35-1A76-4CD5-A22D-971A5DBCEC3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E5B0116A-0D09-4E99-8C69-B4C15A5D8A2B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683347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color area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B73093B2-498C-4869-964E-281799C18C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91520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B73093B2-498C-4869-964E-281799C18C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>
            <a:extLst>
              <a:ext uri="{FF2B5EF4-FFF2-40B4-BE49-F238E27FC236}">
                <a16:creationId xmlns:a16="http://schemas.microsoft.com/office/drawing/2014/main" id="{BB971BD6-3C39-4AB5-88BC-0665FB205EB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rtl="0"/>
            <a:endParaRPr lang="en-US">
              <a:solidFill>
                <a:schemeClr val="tx1"/>
              </a:solidFill>
            </a:endParaRP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E588B75F-B996-4586-B62B-613544F213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4934815-BD84-497F-A42F-97846583B5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7175CD8-0EFD-4DAC-A1BC-6E0964F349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42400" y="6526800"/>
            <a:ext cx="5950800" cy="33120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Restricted © Siemens Gamesa Renewable Energy, YYYY | Author | Department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1BB6DF6-ACA1-4D6E-B0E4-16B0B4F50E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E5B0116A-0D09-4E99-8C69-B4C15A5D8A2B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592908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picture onshor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052F1E00-0A46-414A-BC0E-78D56E3734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80382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052F1E00-0A46-414A-BC0E-78D56E3734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>
            <a:extLst>
              <a:ext uri="{FF2B5EF4-FFF2-40B4-BE49-F238E27FC236}">
                <a16:creationId xmlns:a16="http://schemas.microsoft.com/office/drawing/2014/main" id="{1F2FA311-750F-4E7F-BE77-CF1087F50C1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rtl="0"/>
            <a:endParaRPr lang="en-US">
              <a:solidFill>
                <a:schemeClr val="tx1"/>
              </a:solidFill>
            </a:endParaRPr>
          </a:p>
        </p:txBody>
      </p:sp>
      <p:pic>
        <p:nvPicPr>
          <p:cNvPr id="21" name="Grafik 20" descr="Ein Bild, das Windmühle, Outdoorobjekt enthält.&#10;&#10;Automatisch generierte Beschreibung">
            <a:extLst>
              <a:ext uri="{FF2B5EF4-FFF2-40B4-BE49-F238E27FC236}">
                <a16:creationId xmlns:a16="http://schemas.microsoft.com/office/drawing/2014/main" id="{C690E458-73F7-40BF-8ABC-4B150AE5381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7280" t="5829" b="6044"/>
          <a:stretch/>
        </p:blipFill>
        <p:spPr>
          <a:xfrm>
            <a:off x="1193800" y="977899"/>
            <a:ext cx="10998199" cy="5880101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F315FD56-F1CA-46FA-BF03-921F8636C1B1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663113" y="403233"/>
            <a:ext cx="2051050" cy="330512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vert="horz" lIns="0" tIns="0" bIns="0" anchor="b"/>
          <a:lstStyle>
            <a:lvl1pPr algn="l" rtl="0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27064" y="4528800"/>
            <a:ext cx="5614986" cy="899252"/>
          </a:xfrm>
        </p:spPr>
        <p:txBody>
          <a:bodyPr lIns="0" tIns="108000" anchor="t">
            <a:noAutofit/>
          </a:bodyPr>
          <a:lstStyle>
            <a:lvl1pPr marL="0" indent="0" algn="l" rtl="0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Month 2020</a:t>
            </a:r>
          </a:p>
        </p:txBody>
      </p:sp>
      <p:sp>
        <p:nvSpPr>
          <p:cNvPr id="5" name="Footer">
            <a:extLst>
              <a:ext uri="{FF2B5EF4-FFF2-40B4-BE49-F238E27FC236}">
                <a16:creationId xmlns:a16="http://schemas.microsoft.com/office/drawing/2014/main" id="{C2EB4BBF-386C-4A83-BDBA-CC46EF2630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42400" y="6526800"/>
            <a:ext cx="5950800" cy="331200"/>
          </a:xfrm>
          <a:prstGeom prst="rect">
            <a:avLst/>
          </a:prstGeom>
        </p:spPr>
        <p:txBody>
          <a:bodyPr rIns="482400"/>
          <a:lstStyle>
            <a:lvl1pPr rtl="0">
              <a:defRPr/>
            </a:lvl1pPr>
          </a:lstStyle>
          <a:p>
            <a:r>
              <a:rPr lang="en-US"/>
              <a:t>Restricted © Siemens Gamesa Renewable Energy, YYYY | Author | Departmen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053118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color area 1 (with logo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3CE7308E-E27E-4C0A-9851-78A3A39492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1463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3CE7308E-E27E-4C0A-9851-78A3A39492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>
            <a:extLst>
              <a:ext uri="{FF2B5EF4-FFF2-40B4-BE49-F238E27FC236}">
                <a16:creationId xmlns:a16="http://schemas.microsoft.com/office/drawing/2014/main" id="{840F7236-F9AE-4B6B-9086-56D0CFF906C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rtl="0"/>
            <a:endParaRPr lang="en-US">
              <a:solidFill>
                <a:schemeClr val="tx1"/>
              </a:solidFill>
            </a:endParaRP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E588B75F-B996-4586-B62B-613544F213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681E377-1431-40CF-B767-BFE24EC432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A7C251A-9722-4FB7-8817-A66558168F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42400" y="6526800"/>
            <a:ext cx="5950800" cy="33120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Restricted © Siemens Gamesa Renewable Energy, YYYY | Author | Department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DF4AC8-101C-4EBB-AC50-20F894D5C1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E5B0116A-0D09-4E99-8C69-B4C15A5D8A2B}" type="slidenum">
              <a:rPr lang="en-GB" smtClean="0"/>
              <a:pPr/>
              <a:t>‹nr.›</a:t>
            </a:fld>
            <a:endParaRPr lang="en-GB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A115DDE-4B47-4736-97BC-17291648E83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663113" y="403233"/>
            <a:ext cx="2051050" cy="330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59021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ly bleed color area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B173269-639F-4417-94F3-CD12784A0A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46020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B173269-639F-4417-94F3-CD12784A0A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>
            <a:extLst>
              <a:ext uri="{FF2B5EF4-FFF2-40B4-BE49-F238E27FC236}">
                <a16:creationId xmlns:a16="http://schemas.microsoft.com/office/drawing/2014/main" id="{8F79991B-0BCC-40AE-9765-ED395497D97E}"/>
              </a:ext>
            </a:extLst>
          </p:cNvPr>
          <p:cNvSpPr/>
          <p:nvPr userDrawn="1"/>
        </p:nvSpPr>
        <p:spPr>
          <a:xfrm>
            <a:off x="6241200" y="0"/>
            <a:ext cx="59508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rtl="0"/>
            <a:endParaRPr lang="en-US">
              <a:solidFill>
                <a:schemeClr val="tx1"/>
              </a:solidFill>
            </a:endParaRP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69754322-9D76-4652-BA00-A16E0E8BC4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" y="1"/>
            <a:ext cx="6098400" cy="141446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Copy 1">
            <a:extLst>
              <a:ext uri="{FF2B5EF4-FFF2-40B4-BE49-F238E27FC236}">
                <a16:creationId xmlns:a16="http://schemas.microsoft.com/office/drawing/2014/main" id="{756262E2-8F38-4C0F-A3F9-8F59D3EABBE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7063" y="1702800"/>
            <a:ext cx="5468935" cy="4464050"/>
          </a:xfrm>
        </p:spPr>
        <p:txBody>
          <a:bodyPr lIns="0"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 rtl="0"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 rtl="0"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 rtl="0"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2">
            <a:extLst>
              <a:ext uri="{FF2B5EF4-FFF2-40B4-BE49-F238E27FC236}">
                <a16:creationId xmlns:a16="http://schemas.microsoft.com/office/drawing/2014/main" id="{0C7A0882-840F-46D5-B681-43C58151C83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868800" y="1702800"/>
            <a:ext cx="4845363" cy="4464050"/>
          </a:xfrm>
        </p:spPr>
        <p:txBody>
          <a:bodyPr lIns="0"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buClrTx/>
              <a:defRPr>
                <a:solidFill>
                  <a:schemeClr val="bg1"/>
                </a:solidFill>
              </a:defRPr>
            </a:lvl2pPr>
            <a:lvl3pPr rtl="0">
              <a:buClrTx/>
              <a:defRPr>
                <a:solidFill>
                  <a:schemeClr val="bg1"/>
                </a:solidFill>
              </a:defRPr>
            </a:lvl3pPr>
            <a:lvl4pPr rtl="0">
              <a:buClrTx/>
              <a:defRPr>
                <a:solidFill>
                  <a:schemeClr val="bg1"/>
                </a:solidFill>
              </a:defRPr>
            </a:lvl4pPr>
            <a:lvl5pPr rtl="0"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7C70E75-D739-4DDD-8C67-80B415409F19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0F23AB6-BD6A-4B8B-8D84-F85D0E10194C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42400" y="6526800"/>
            <a:ext cx="5950800" cy="331200"/>
          </a:xfrm>
          <a:prstGeom prst="rect">
            <a:avLst/>
          </a:prstGeo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Restricted © Siemens Gamesa Renewable Energy, YYYY | Author | Department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DDA3D1C-DCA3-4AC2-A75B-4E56E0A4F86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E5B0116A-0D09-4E99-8C69-B4C15A5D8A2B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697003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4326" userDrawn="1">
          <p15:clr>
            <a:srgbClr val="009999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ly bleed color area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8CF985D9-57AA-4750-BD57-A8CCA74F88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50618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8CF985D9-57AA-4750-BD57-A8CCA74F88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>
            <a:extLst>
              <a:ext uri="{FF2B5EF4-FFF2-40B4-BE49-F238E27FC236}">
                <a16:creationId xmlns:a16="http://schemas.microsoft.com/office/drawing/2014/main" id="{A5BE8085-6F47-4D81-9A9F-99122D1DDC21}"/>
              </a:ext>
            </a:extLst>
          </p:cNvPr>
          <p:cNvSpPr/>
          <p:nvPr userDrawn="1"/>
        </p:nvSpPr>
        <p:spPr>
          <a:xfrm>
            <a:off x="0" y="0"/>
            <a:ext cx="6099175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rtl="0"/>
            <a:endParaRPr lang="en-US">
              <a:solidFill>
                <a:schemeClr val="tx1"/>
              </a:solidFill>
            </a:endParaRP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F3C362A-A909-40CB-9FA2-3D71780075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" y="1"/>
            <a:ext cx="6098400" cy="1414462"/>
          </a:xfrm>
        </p:spPr>
        <p:txBody>
          <a:bodyPr vert="horz"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Copy 1">
            <a:extLst>
              <a:ext uri="{FF2B5EF4-FFF2-40B4-BE49-F238E27FC236}">
                <a16:creationId xmlns:a16="http://schemas.microsoft.com/office/drawing/2014/main" id="{756262E2-8F38-4C0F-A3F9-8F59D3EABBE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7063" y="1702800"/>
            <a:ext cx="4838400" cy="4464050"/>
          </a:xfrm>
        </p:spPr>
        <p:txBody>
          <a:bodyPr lIns="0"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buClrTx/>
              <a:defRPr>
                <a:solidFill>
                  <a:schemeClr val="tx1"/>
                </a:solidFill>
              </a:defRPr>
            </a:lvl2pPr>
            <a:lvl3pPr rtl="0">
              <a:buClrTx/>
              <a:defRPr>
                <a:solidFill>
                  <a:schemeClr val="tx1"/>
                </a:solidFill>
              </a:defRPr>
            </a:lvl3pPr>
            <a:lvl4pPr rtl="0">
              <a:buClrTx/>
              <a:defRPr>
                <a:solidFill>
                  <a:schemeClr val="tx1"/>
                </a:solidFill>
              </a:defRPr>
            </a:lvl4pPr>
            <a:lvl5pPr rtl="0">
              <a:buClrTx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2">
            <a:extLst>
              <a:ext uri="{FF2B5EF4-FFF2-40B4-BE49-F238E27FC236}">
                <a16:creationId xmlns:a16="http://schemas.microsoft.com/office/drawing/2014/main" id="{0C7A0882-840F-46D5-B681-43C58151C83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724799" y="1702800"/>
            <a:ext cx="4989364" cy="4464050"/>
          </a:xfrm>
        </p:spPr>
        <p:txBody>
          <a:bodyPr lIns="0"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rtl="0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rtl="0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0D0ED97-5C70-47D8-BCBB-91F0DD5B33A6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51ADA0A-F908-44C9-B847-24AB2B5D75A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42400" y="6526800"/>
            <a:ext cx="5950800" cy="331200"/>
          </a:xfrm>
          <a:prstGeom prst="rect">
            <a:avLst/>
          </a:prstGeo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Restricted © Siemens Gamesa Renewable Energy, YYYY | Author | Department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1B35601-8DD5-4AEF-B3A0-A4DE70BEBE9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E5B0116A-0D09-4E99-8C69-B4C15A5D8A2B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634529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4235" userDrawn="1">
          <p15:clr>
            <a:srgbClr val="009999"/>
          </p15:clr>
        </p15:guide>
        <p15:guide id="4" pos="3445" userDrawn="1">
          <p15:clr>
            <a:srgbClr val="009999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ly bleed color area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3BF27E9-D713-4DCD-96E4-0E3B3D4AB8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97650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C3BF27E9-D713-4DCD-96E4-0E3B3D4AB8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>
            <a:extLst>
              <a:ext uri="{FF2B5EF4-FFF2-40B4-BE49-F238E27FC236}">
                <a16:creationId xmlns:a16="http://schemas.microsoft.com/office/drawing/2014/main" id="{A4B6581B-95E0-4EAA-8C1D-96EC6BA6D8B5}"/>
              </a:ext>
            </a:extLst>
          </p:cNvPr>
          <p:cNvSpPr/>
          <p:nvPr userDrawn="1"/>
        </p:nvSpPr>
        <p:spPr>
          <a:xfrm>
            <a:off x="4225924" y="0"/>
            <a:ext cx="7966075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rtl="0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1DA0C482-E794-471B-86E8-8B4BC6FE0B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25925" y="1"/>
            <a:ext cx="7488238" cy="1414462"/>
          </a:xfrm>
        </p:spPr>
        <p:txBody>
          <a:bodyPr vert="horz"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Copy 1">
            <a:extLst>
              <a:ext uri="{FF2B5EF4-FFF2-40B4-BE49-F238E27FC236}">
                <a16:creationId xmlns:a16="http://schemas.microsoft.com/office/drawing/2014/main" id="{756262E2-8F38-4C0F-A3F9-8F59D3EABBE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7063" y="1702800"/>
            <a:ext cx="3312000" cy="4464050"/>
          </a:xfrm>
        </p:spPr>
        <p:txBody>
          <a:bodyPr lIns="0"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rtl="0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rtl="0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2">
            <a:extLst>
              <a:ext uri="{FF2B5EF4-FFF2-40B4-BE49-F238E27FC236}">
                <a16:creationId xmlns:a16="http://schemas.microsoft.com/office/drawing/2014/main" id="{0C7A0882-840F-46D5-B681-43C58151C83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52988" y="1702800"/>
            <a:ext cx="6861175" cy="4464050"/>
          </a:xfrm>
        </p:spPr>
        <p:txBody>
          <a:bodyPr lIns="0"/>
          <a:lstStyle>
            <a:lvl1pPr rtl="0">
              <a:defRPr/>
            </a:lvl1pPr>
            <a:lvl2pPr rtl="0">
              <a:buClrTx/>
              <a:defRPr/>
            </a:lvl2pPr>
            <a:lvl3pPr rtl="0">
              <a:buClrTx/>
              <a:defRPr/>
            </a:lvl3pPr>
            <a:lvl4pPr rtl="0">
              <a:buClrTx/>
              <a:defRPr/>
            </a:lvl4pPr>
            <a:lvl5pPr rtl="0">
              <a:buClrTx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8522B58-5398-4862-B52D-03604F94B5A9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154BF0-983C-4FAA-95C9-B04CD25A3F0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42400" y="6526800"/>
            <a:ext cx="5950800" cy="33120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Restricted © Siemens Gamesa Renewable Energy, YYYY | Author | Department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E7706C7-95E9-46DC-AC1A-8FD06085094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fld id="{E5B0116A-0D09-4E99-8C69-B4C15A5D8A2B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560390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2482" userDrawn="1">
          <p15:clr>
            <a:srgbClr val="009999"/>
          </p15:clr>
        </p15:guide>
        <p15:guide id="3" pos="3057" userDrawn="1">
          <p15:clr>
            <a:srgbClr val="009999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ly bleed color area 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F9A4BD2E-212E-47D6-96AC-75DCEB07C7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9362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F9A4BD2E-212E-47D6-96AC-75DCEB07C7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>
            <a:extLst>
              <a:ext uri="{FF2B5EF4-FFF2-40B4-BE49-F238E27FC236}">
                <a16:creationId xmlns:a16="http://schemas.microsoft.com/office/drawing/2014/main" id="{8079A8B8-87E1-413F-9BCD-7410C47767B8}"/>
              </a:ext>
            </a:extLst>
          </p:cNvPr>
          <p:cNvSpPr/>
          <p:nvPr userDrawn="1"/>
        </p:nvSpPr>
        <p:spPr>
          <a:xfrm>
            <a:off x="0" y="0"/>
            <a:ext cx="4225925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rtl="0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506C2C1-E8E5-4190-B0E4-8D8FC817B3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25925" y="1"/>
            <a:ext cx="7488238" cy="141446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Copy 1">
            <a:extLst>
              <a:ext uri="{FF2B5EF4-FFF2-40B4-BE49-F238E27FC236}">
                <a16:creationId xmlns:a16="http://schemas.microsoft.com/office/drawing/2014/main" id="{756262E2-8F38-4C0F-A3F9-8F59D3EABBE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7063" y="1702800"/>
            <a:ext cx="3312000" cy="4464050"/>
          </a:xfrm>
        </p:spPr>
        <p:txBody>
          <a:bodyPr lIns="0"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buClrTx/>
              <a:defRPr>
                <a:solidFill>
                  <a:schemeClr val="bg1"/>
                </a:solidFill>
              </a:defRPr>
            </a:lvl2pPr>
            <a:lvl3pPr rtl="0">
              <a:buClrTx/>
              <a:defRPr>
                <a:solidFill>
                  <a:schemeClr val="bg1"/>
                </a:solidFill>
              </a:defRPr>
            </a:lvl3pPr>
            <a:lvl4pPr rtl="0">
              <a:buClrTx/>
              <a:defRPr>
                <a:solidFill>
                  <a:schemeClr val="bg1"/>
                </a:solidFill>
              </a:defRPr>
            </a:lvl4pPr>
            <a:lvl5pPr rtl="0"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2">
            <a:extLst>
              <a:ext uri="{FF2B5EF4-FFF2-40B4-BE49-F238E27FC236}">
                <a16:creationId xmlns:a16="http://schemas.microsoft.com/office/drawing/2014/main" id="{0C7A0882-840F-46D5-B681-43C58151C83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52990" y="1702800"/>
            <a:ext cx="6861174" cy="4464050"/>
          </a:xfrm>
        </p:spPr>
        <p:txBody>
          <a:bodyPr lIns="0"/>
          <a:lstStyle>
            <a:lvl1pPr rtl="0">
              <a:defRPr/>
            </a:lvl1pPr>
            <a:lvl2pPr rtl="0">
              <a:buClr>
                <a:schemeClr val="tx1"/>
              </a:buClr>
              <a:defRPr/>
            </a:lvl2pPr>
            <a:lvl3pPr rtl="0">
              <a:buClr>
                <a:schemeClr val="tx1"/>
              </a:buClr>
              <a:defRPr/>
            </a:lvl3pPr>
            <a:lvl4pPr rtl="0">
              <a:buClr>
                <a:schemeClr val="tx1"/>
              </a:buClr>
              <a:defRPr/>
            </a:lvl4pPr>
            <a:lvl5pPr rtl="0">
              <a:buClr>
                <a:schemeClr val="tx1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6BC5FE3-B07B-40CB-ADF1-561277479157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4829A67-E669-4A2C-B3AB-1BFFA3E672A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242400" y="6526800"/>
            <a:ext cx="5950800" cy="33120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Restricted © Siemens Gamesa Renewable Energy, YYYY | Author | Department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B14F746-A8CB-4B14-81DB-18C28B9F5D7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fld id="{E5B0116A-0D09-4E99-8C69-B4C15A5D8A2B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471695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481" userDrawn="1">
          <p15:clr>
            <a:srgbClr val="009999"/>
          </p15:clr>
        </p15:guide>
        <p15:guide id="3" pos="3058" userDrawn="1">
          <p15:clr>
            <a:srgbClr val="009999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ly bleed color area 5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86D7B85-081A-4879-8E68-A47833361A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51996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886D7B85-081A-4879-8E68-A47833361A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>
            <a:extLst>
              <a:ext uri="{FF2B5EF4-FFF2-40B4-BE49-F238E27FC236}">
                <a16:creationId xmlns:a16="http://schemas.microsoft.com/office/drawing/2014/main" id="{81445D3F-0E5D-41A2-A057-4A4D71F493D7}"/>
              </a:ext>
            </a:extLst>
          </p:cNvPr>
          <p:cNvSpPr/>
          <p:nvPr userDrawn="1"/>
        </p:nvSpPr>
        <p:spPr>
          <a:xfrm>
            <a:off x="0" y="1414462"/>
            <a:ext cx="12192000" cy="54435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rtl="0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0110D7BC-E7EC-4502-9248-89CD9CF4CB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py 1">
            <a:extLst>
              <a:ext uri="{FF2B5EF4-FFF2-40B4-BE49-F238E27FC236}">
                <a16:creationId xmlns:a16="http://schemas.microsoft.com/office/drawing/2014/main" id="{0C7A0882-840F-46D5-B681-43C58151C83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27060" y="1702800"/>
            <a:ext cx="3600000" cy="4464050"/>
          </a:xfrm>
        </p:spPr>
        <p:txBody>
          <a:bodyPr/>
          <a:lstStyle>
            <a:lvl1pPr rtl="0">
              <a:defRPr/>
            </a:lvl1pPr>
            <a:lvl2pPr rtl="0">
              <a:buClrTx/>
              <a:defRPr/>
            </a:lvl2pPr>
            <a:lvl3pPr rtl="0">
              <a:buClrTx/>
              <a:defRPr/>
            </a:lvl3pPr>
            <a:lvl4pPr rtl="0">
              <a:buClrTx/>
              <a:defRPr/>
            </a:lvl4pPr>
            <a:lvl5pPr rtl="0">
              <a:buClrTx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py 2">
            <a:extLst>
              <a:ext uri="{FF2B5EF4-FFF2-40B4-BE49-F238E27FC236}">
                <a16:creationId xmlns:a16="http://schemas.microsoft.com/office/drawing/2014/main" id="{99496BBF-8C93-419A-9711-E1A45A39C74F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370612" y="1702800"/>
            <a:ext cx="3600000" cy="4464050"/>
          </a:xfrm>
        </p:spPr>
        <p:txBody>
          <a:bodyPr/>
          <a:lstStyle>
            <a:lvl1pPr rtl="0">
              <a:defRPr/>
            </a:lvl1pPr>
            <a:lvl2pPr rtl="0">
              <a:buClrTx/>
              <a:defRPr/>
            </a:lvl2pPr>
            <a:lvl3pPr rtl="0">
              <a:buClrTx/>
              <a:defRPr/>
            </a:lvl3pPr>
            <a:lvl4pPr rtl="0">
              <a:buClrTx/>
              <a:defRPr/>
            </a:lvl4pPr>
            <a:lvl5pPr rtl="0">
              <a:buClrTx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Copy 3">
            <a:extLst>
              <a:ext uri="{FF2B5EF4-FFF2-40B4-BE49-F238E27FC236}">
                <a16:creationId xmlns:a16="http://schemas.microsoft.com/office/drawing/2014/main" id="{F4602EF6-A996-4008-A6E7-BC21522010A5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8114163" y="1702800"/>
            <a:ext cx="3600000" cy="4464050"/>
          </a:xfrm>
        </p:spPr>
        <p:txBody>
          <a:bodyPr/>
          <a:lstStyle>
            <a:lvl1pPr rtl="0">
              <a:defRPr/>
            </a:lvl1pPr>
            <a:lvl2pPr rtl="0">
              <a:buClrTx/>
              <a:defRPr/>
            </a:lvl2pPr>
            <a:lvl3pPr rtl="0">
              <a:buClrTx/>
              <a:defRPr/>
            </a:lvl3pPr>
            <a:lvl4pPr rtl="0">
              <a:buClrTx/>
              <a:defRPr/>
            </a:lvl4pPr>
            <a:lvl5pPr rtl="0">
              <a:buClrTx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11C2E43-2B51-4275-97D9-4FCC5691F646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69C655B-C4A0-4021-B2BB-F636800B81E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6242400" y="6526800"/>
            <a:ext cx="5950800" cy="33120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Restricted © Siemens Gamesa Renewable Energy, YYYY | Author | Department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4871DFC-6438-4D8E-BDFF-7E6A87088F1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E5B0116A-0D09-4E99-8C69-B4C15A5D8A2B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728428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5022" userDrawn="1">
          <p15:clr>
            <a:srgbClr val="009999"/>
          </p15:clr>
        </p15:guide>
        <p15:guide id="2" pos="5112" userDrawn="1">
          <p15:clr>
            <a:srgbClr val="009999"/>
          </p15:clr>
        </p15:guide>
        <p15:guide id="4" pos="2753" userDrawn="1">
          <p15:clr>
            <a:srgbClr val="009999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3640A0FB-E2DF-46EB-87E9-028AF33C84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692563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5" progId="TCLayout.ActiveDocument.1">
                  <p:embed/>
                </p:oleObj>
              </mc:Choice>
              <mc:Fallback>
                <p:oleObj name="think-cell Slid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3640A0FB-E2DF-46EB-87E9-028AF33C84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>
            <a:extLst>
              <a:ext uri="{FF2B5EF4-FFF2-40B4-BE49-F238E27FC236}">
                <a16:creationId xmlns:a16="http://schemas.microsoft.com/office/drawing/2014/main" id="{29A8A3D2-4732-49AB-8FCF-B07043C386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/>
              <a:t>Contact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3" y="1414800"/>
            <a:ext cx="8207375" cy="4752974"/>
          </a:xfrm>
        </p:spPr>
        <p:txBody>
          <a:bodyPr lIns="0"/>
          <a:lstStyle>
            <a:lvl1pPr rtl="0">
              <a:spcBef>
                <a:spcPts val="600"/>
              </a:spcBef>
              <a:defRPr baseline="0"/>
            </a:lvl1pPr>
            <a:lvl2pPr marL="0" indent="0" rtl="0">
              <a:spcBef>
                <a:spcPts val="600"/>
              </a:spcBef>
              <a:buNone/>
              <a:defRPr b="1"/>
            </a:lvl2pPr>
            <a:lvl3pPr marL="180000" indent="-180000" rtl="0">
              <a:spcBef>
                <a:spcPts val="6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 marL="0" indent="0" rtl="0">
              <a:spcBef>
                <a:spcPts val="1800"/>
              </a:spcBef>
              <a:buNone/>
              <a:defRPr b="1">
                <a:solidFill>
                  <a:schemeClr val="accent2"/>
                </a:solidFill>
              </a:defRPr>
            </a:lvl4pPr>
            <a:lvl5pPr marL="216000"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ontact information</a:t>
            </a:r>
          </a:p>
          <a:p>
            <a:pPr lvl="1"/>
            <a:r>
              <a:rPr lang="en-US" noProof="0"/>
              <a:t>First name Last name</a:t>
            </a:r>
          </a:p>
          <a:p>
            <a:pPr lvl="2"/>
            <a:r>
              <a:rPr lang="en-US" noProof="0"/>
              <a:t>Additional information</a:t>
            </a:r>
          </a:p>
          <a:p>
            <a:pPr lvl="3"/>
            <a:r>
              <a:rPr lang="en-US" noProof="0"/>
              <a:t>Optional URL</a:t>
            </a:r>
          </a:p>
        </p:txBody>
      </p:sp>
      <p:sp>
        <p:nvSpPr>
          <p:cNvPr id="4" name="Date">
            <a:extLst>
              <a:ext uri="{FF2B5EF4-FFF2-40B4-BE49-F238E27FC236}">
                <a16:creationId xmlns:a16="http://schemas.microsoft.com/office/drawing/2014/main" id="{155F7821-3B7D-46FA-AB71-D6E1821CFD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5" name="Footer">
            <a:extLst>
              <a:ext uri="{FF2B5EF4-FFF2-40B4-BE49-F238E27FC236}">
                <a16:creationId xmlns:a16="http://schemas.microsoft.com/office/drawing/2014/main" id="{487E21B0-3330-46FB-B5F9-B33B663893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42400" y="6526800"/>
            <a:ext cx="5950800" cy="33120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Restricted © Siemens Gamesa Renewable Energy, YYYY | Author | Department</a:t>
            </a:r>
            <a:endParaRPr lang="en-GB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EB7B179D-BB44-4059-89E7-5F4779D476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E5B0116A-0D09-4E99-8C69-B4C15A5D8A2B}" type="slidenum">
              <a:rPr lang="en-GB" smtClean="0"/>
              <a:pPr/>
              <a:t>‹nr.›</a:t>
            </a:fld>
            <a:endParaRPr lang="en-GB"/>
          </a:p>
        </p:txBody>
      </p:sp>
      <p:pic>
        <p:nvPicPr>
          <p:cNvPr id="9" name="Picture 13">
            <a:extLst>
              <a:ext uri="{FF2B5EF4-FFF2-40B4-BE49-F238E27FC236}">
                <a16:creationId xmlns:a16="http://schemas.microsoft.com/office/drawing/2014/main" id="{FF06F0BA-7177-4B05-9472-510972914E7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663113" y="403233"/>
            <a:ext cx="2051050" cy="330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62695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picture service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B21DF332-D7A6-4A46-A162-7C598F39B6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8629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B21DF332-D7A6-4A46-A162-7C598F39B6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>
            <a:extLst>
              <a:ext uri="{FF2B5EF4-FFF2-40B4-BE49-F238E27FC236}">
                <a16:creationId xmlns:a16="http://schemas.microsoft.com/office/drawing/2014/main" id="{5E6BABD9-5A91-4434-8097-1C847926C93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rtl="0"/>
            <a:endParaRPr lang="en-US">
              <a:solidFill>
                <a:schemeClr val="tx1"/>
              </a:solidFill>
            </a:endParaRPr>
          </a:p>
        </p:txBody>
      </p:sp>
      <p:pic>
        <p:nvPicPr>
          <p:cNvPr id="14" name="Grafik 13" descr="Ein Bild, das Person, dunkel enthält.&#10;&#10;Automatisch generierte Beschreibung">
            <a:extLst>
              <a:ext uri="{FF2B5EF4-FFF2-40B4-BE49-F238E27FC236}">
                <a16:creationId xmlns:a16="http://schemas.microsoft.com/office/drawing/2014/main" id="{B0A3EEB4-33F3-4E5D-8AB7-04186D145DD8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AECD410B-B954-415F-B3DA-9703F904798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663113" y="403233"/>
            <a:ext cx="2051050" cy="330512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vert="horz" lIns="0" tIns="0" bIns="0" anchor="b"/>
          <a:lstStyle>
            <a:lvl1pPr algn="l" rtl="0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27064" y="4528800"/>
            <a:ext cx="5614986" cy="899252"/>
          </a:xfrm>
        </p:spPr>
        <p:txBody>
          <a:bodyPr lIns="0" tIns="108000" anchor="t">
            <a:noAutofit/>
          </a:bodyPr>
          <a:lstStyle>
            <a:lvl1pPr marL="0" indent="0" algn="l" rtl="0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Month 2020</a:t>
            </a:r>
          </a:p>
        </p:txBody>
      </p:sp>
      <p:sp>
        <p:nvSpPr>
          <p:cNvPr id="5" name="Footer">
            <a:extLst>
              <a:ext uri="{FF2B5EF4-FFF2-40B4-BE49-F238E27FC236}">
                <a16:creationId xmlns:a16="http://schemas.microsoft.com/office/drawing/2014/main" id="{2F33FBE1-0695-4F86-8E06-7C12BB6B0C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42400" y="6526800"/>
            <a:ext cx="5950800" cy="331200"/>
          </a:xfrm>
          <a:prstGeom prst="rect">
            <a:avLst/>
          </a:prstGeom>
        </p:spPr>
        <p:txBody>
          <a:bodyPr rIns="482400"/>
          <a:lstStyle>
            <a:lvl1pPr rtl="0">
              <a:defRPr/>
            </a:lvl1pPr>
          </a:lstStyle>
          <a:p>
            <a:r>
              <a:rPr lang="en-US"/>
              <a:t>Restricted © Siemens Gamesa Renewable Energy, YYYY | Author | Departmen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756523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picture servic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7431E311-78F5-4D16-AFFF-C551D1B02A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587116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7431E311-78F5-4D16-AFFF-C551D1B02A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>
            <a:extLst>
              <a:ext uri="{FF2B5EF4-FFF2-40B4-BE49-F238E27FC236}">
                <a16:creationId xmlns:a16="http://schemas.microsoft.com/office/drawing/2014/main" id="{63F9E680-06B4-4505-95CD-F907D5EE720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rtl="0"/>
            <a:endParaRPr lang="en-US">
              <a:solidFill>
                <a:schemeClr val="tx1"/>
              </a:solidFill>
            </a:endParaRPr>
          </a:p>
        </p:txBody>
      </p:sp>
      <p:pic>
        <p:nvPicPr>
          <p:cNvPr id="16" name="Grafik 15" descr="Ein Bild, das Person, Outdoorobjekt enthält.&#10;&#10;Automatisch generierte Beschreibung">
            <a:extLst>
              <a:ext uri="{FF2B5EF4-FFF2-40B4-BE49-F238E27FC236}">
                <a16:creationId xmlns:a16="http://schemas.microsoft.com/office/drawing/2014/main" id="{E61C02C0-8993-4A0D-BACA-A07EAF44099F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882EED4D-E622-45D8-9367-A7F60B95482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663113" y="403233"/>
            <a:ext cx="2051050" cy="330512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vert="horz" lIns="0" tIns="0" bIns="0" anchor="b"/>
          <a:lstStyle>
            <a:lvl1pPr algn="l" rtl="0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27064" y="4528800"/>
            <a:ext cx="5614986" cy="899252"/>
          </a:xfrm>
        </p:spPr>
        <p:txBody>
          <a:bodyPr lIns="0" tIns="108000" anchor="t">
            <a:noAutofit/>
          </a:bodyPr>
          <a:lstStyle>
            <a:lvl1pPr marL="0" indent="0" algn="l" rtl="0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Month 2020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EDB73C7-AC84-4752-8A56-05C5A6A1CA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42400" y="6526800"/>
            <a:ext cx="5950800" cy="331200"/>
          </a:xfrm>
          <a:prstGeom prst="rect">
            <a:avLst/>
          </a:prstGeom>
        </p:spPr>
        <p:txBody>
          <a:bodyPr rIns="482400"/>
          <a:lstStyle>
            <a:lvl1pPr rtl="0">
              <a:defRPr/>
            </a:lvl1pPr>
          </a:lstStyle>
          <a:p>
            <a:r>
              <a:rPr lang="en-US"/>
              <a:t>Restricted © Siemens Gamesa Renewable Energy, YYYY | Author | Departmen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55223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icture full scree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7431E311-78F5-4D16-AFFF-C551D1B02A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63174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7431E311-78F5-4D16-AFFF-C551D1B02A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>
            <a:extLst>
              <a:ext uri="{FF2B5EF4-FFF2-40B4-BE49-F238E27FC236}">
                <a16:creationId xmlns:a16="http://schemas.microsoft.com/office/drawing/2014/main" id="{63F9E680-06B4-4505-95CD-F907D5EE720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rtl="0"/>
            <a:endParaRPr lang="en-US">
              <a:solidFill>
                <a:schemeClr val="tx1"/>
              </a:solidFill>
            </a:endParaRP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516F11CF-BE50-4EDC-A0E2-B328420C8F6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</p:spPr>
        <p:txBody>
          <a:bodyPr lIns="612000" tIns="504000"/>
          <a:lstStyle>
            <a:lvl1pPr>
              <a:defRPr/>
            </a:lvl1pPr>
          </a:lstStyle>
          <a:p>
            <a:r>
              <a:rPr lang="en-US"/>
              <a:t>Click icon to add picture and “reset” layout in the “slides” section (“start” ribbon)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vert="horz" lIns="0" tIns="0" bIns="0" anchor="b"/>
          <a:lstStyle>
            <a:lvl1pPr algn="l" rtl="0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27064" y="4528800"/>
            <a:ext cx="5614986" cy="899252"/>
          </a:xfrm>
        </p:spPr>
        <p:txBody>
          <a:bodyPr lIns="0" tIns="108000" anchor="t">
            <a:noAutofit/>
          </a:bodyPr>
          <a:lstStyle>
            <a:lvl1pPr marL="0" indent="0" algn="l" rtl="0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Month 2020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EDB73C7-AC84-4752-8A56-05C5A6A1CA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42400" y="6526800"/>
            <a:ext cx="5950800" cy="331200"/>
          </a:xfrm>
          <a:prstGeom prst="rect">
            <a:avLst/>
          </a:prstGeom>
        </p:spPr>
        <p:txBody>
          <a:bodyPr rIns="482400"/>
          <a:lstStyle>
            <a:lvl1pPr rtl="0">
              <a:defRPr/>
            </a:lvl1pPr>
          </a:lstStyle>
          <a:p>
            <a:r>
              <a:rPr lang="en-US"/>
              <a:t>Restricted © Siemens Gamesa Renewable Energy, YYYY | Author | Department</a:t>
            </a:r>
            <a:endParaRPr lang="en-GB"/>
          </a:p>
        </p:txBody>
      </p:sp>
      <p:sp>
        <p:nvSpPr>
          <p:cNvPr id="50" name="Textplatzhalter 49">
            <a:extLst>
              <a:ext uri="{FF2B5EF4-FFF2-40B4-BE49-F238E27FC236}">
                <a16:creationId xmlns:a16="http://schemas.microsoft.com/office/drawing/2014/main" id="{8E43C720-66DB-46CE-89F0-D79BB8FCC41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663113" y="403233"/>
            <a:ext cx="2051050" cy="330512"/>
          </a:xfrm>
          <a:blipFill>
            <a:blip r:embed="rId5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49654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color fil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A086661-CB04-453E-AB5D-A8224AF370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14958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9A086661-CB04-453E-AB5D-A8224AF370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>
            <a:extLst>
              <a:ext uri="{FF2B5EF4-FFF2-40B4-BE49-F238E27FC236}">
                <a16:creationId xmlns:a16="http://schemas.microsoft.com/office/drawing/2014/main" id="{D89BAE31-4A38-4BEA-9EC0-5E164969364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rtl="0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3" y="1414800"/>
            <a:ext cx="8207375" cy="3114000"/>
          </a:xfrm>
        </p:spPr>
        <p:txBody>
          <a:bodyPr vert="horz" lIns="0" tIns="0" bIns="0" anchor="b"/>
          <a:lstStyle>
            <a:lvl1pPr algn="l" rtl="0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27064" y="4528800"/>
            <a:ext cx="8207374" cy="899252"/>
          </a:xfrm>
        </p:spPr>
        <p:txBody>
          <a:bodyPr lIns="0" tIns="108000" anchor="t">
            <a:noAutofit/>
          </a:bodyPr>
          <a:lstStyle>
            <a:lvl1pPr marL="0" indent="0" algn="l" rtl="0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Month 2020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F90131A-5184-4CA7-A717-D2A1B58C50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42400" y="6526800"/>
            <a:ext cx="5950800" cy="331200"/>
          </a:xfrm>
          <a:prstGeom prst="rect">
            <a:avLst/>
          </a:prstGeom>
        </p:spPr>
        <p:txBody>
          <a:bodyPr rIns="482400"/>
          <a:lstStyle>
            <a:lvl1pPr rtl="0">
              <a:defRPr/>
            </a:lvl1pPr>
          </a:lstStyle>
          <a:p>
            <a:r>
              <a:rPr lang="en-US"/>
              <a:t>Restricted © Siemens Gamesa Renewable Energy, YYYY | Author | Department</a:t>
            </a:r>
            <a:endParaRPr lang="en-GB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15ACE221-9BD9-4FB5-9FF9-6AF81D9526B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663113" y="403233"/>
            <a:ext cx="2051050" cy="330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03817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fill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652E18E2-8467-4B13-8CE4-83A0E21F2D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2040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5" progId="TCLayout.ActiveDocument.1">
                  <p:embed/>
                </p:oleObj>
              </mc:Choice>
              <mc:Fallback>
                <p:oleObj name="think-cell Slid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652E18E2-8467-4B13-8CE4-83A0E21F2D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3" y="1414800"/>
            <a:ext cx="8207375" cy="3114000"/>
          </a:xfrm>
        </p:spPr>
        <p:txBody>
          <a:bodyPr vert="horz" lIns="0" tIns="0" bIns="0" anchor="b"/>
          <a:lstStyle>
            <a:lvl1pPr algn="l" rtl="0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hapter divider</a:t>
            </a:r>
          </a:p>
        </p:txBody>
      </p:sp>
      <p:sp>
        <p:nvSpPr>
          <p:cNvPr id="4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064" y="4528800"/>
            <a:ext cx="8208000" cy="899252"/>
          </a:xfrm>
        </p:spPr>
        <p:txBody>
          <a:bodyPr lIns="0" tIns="108000" anchor="t">
            <a:noAutofit/>
          </a:bodyPr>
          <a:lstStyle>
            <a:lvl1pPr marL="0" indent="0" algn="l" rtl="0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Month 2020</a:t>
            </a:r>
          </a:p>
        </p:txBody>
      </p:sp>
      <p:sp>
        <p:nvSpPr>
          <p:cNvPr id="3" name="Date">
            <a:extLst>
              <a:ext uri="{FF2B5EF4-FFF2-40B4-BE49-F238E27FC236}">
                <a16:creationId xmlns:a16="http://schemas.microsoft.com/office/drawing/2014/main" id="{C402A96C-EBED-40E1-A4C2-8E37DB8DC9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5" name="Footer">
            <a:extLst>
              <a:ext uri="{FF2B5EF4-FFF2-40B4-BE49-F238E27FC236}">
                <a16:creationId xmlns:a16="http://schemas.microsoft.com/office/drawing/2014/main" id="{8BDE6292-7392-48FE-A6BA-AC5CD29F9A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42400" y="6526800"/>
            <a:ext cx="5950800" cy="33120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Restricted © Siemens Gamesa Renewable Energy, YYYY | Author | Department</a:t>
            </a:r>
            <a:endParaRPr lang="en-GB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5A665DDE-DE0E-4DA5-8EAA-1E82501DB9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E5B0116A-0D09-4E99-8C69-B4C15A5D8A2B}" type="slidenum">
              <a:rPr lang="en-GB" smtClean="0"/>
              <a:pPr/>
              <a:t>‹nr.›</a:t>
            </a:fld>
            <a:endParaRPr lang="en-GB"/>
          </a:p>
        </p:txBody>
      </p:sp>
      <p:pic>
        <p:nvPicPr>
          <p:cNvPr id="9" name="Picture 13">
            <a:extLst>
              <a:ext uri="{FF2B5EF4-FFF2-40B4-BE49-F238E27FC236}">
                <a16:creationId xmlns:a16="http://schemas.microsoft.com/office/drawing/2014/main" id="{1AB766AC-ED0B-4087-A09F-BD4F854FCD31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663113" y="403233"/>
            <a:ext cx="2051050" cy="330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02356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color fill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0003BF5-7A5D-4A8D-A2F1-91ECA1697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7526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0003BF5-7A5D-4A8D-A2F1-91ECA1697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>
            <a:extLst>
              <a:ext uri="{FF2B5EF4-FFF2-40B4-BE49-F238E27FC236}">
                <a16:creationId xmlns:a16="http://schemas.microsoft.com/office/drawing/2014/main" id="{527AB417-0DE7-4DB4-AD6F-DC874774765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rtl="0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3" y="1414800"/>
            <a:ext cx="8207375" cy="3114000"/>
          </a:xfrm>
        </p:spPr>
        <p:txBody>
          <a:bodyPr vert="horz" lIns="0" tIns="0" bIns="0" anchor="b"/>
          <a:lstStyle>
            <a:lvl1pPr algn="l" rtl="0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hapter divider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064" y="4528800"/>
            <a:ext cx="8208000" cy="899252"/>
          </a:xfrm>
        </p:spPr>
        <p:txBody>
          <a:bodyPr lIns="0" tIns="108000" anchor="t">
            <a:noAutofit/>
          </a:bodyPr>
          <a:lstStyle>
            <a:lvl1pPr marL="0" indent="0" algn="l" rtl="0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Month 2020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1283E88-EAE1-415C-A5B2-0A2B1E4675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F7D335C-B372-4CBB-B1BD-744481B433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42400" y="6526800"/>
            <a:ext cx="5950800" cy="33120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Restricted © Siemens Gamesa Renewable Energy, YYYY | Author | Department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C98D2EF-F23B-41C5-ABCD-9712A9A8CF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E5B0116A-0D09-4E99-8C69-B4C15A5D8A2B}" type="slidenum">
              <a:rPr lang="en-GB" smtClean="0"/>
              <a:pPr/>
              <a:t>‹nr.›</a:t>
            </a:fld>
            <a:endParaRPr lang="en-GB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022D7EE0-943F-4FF0-883F-2A11A4021848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663113" y="403233"/>
            <a:ext cx="2051050" cy="330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38169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heme" Target="../theme/theme1.xml"/><Relationship Id="rId40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41D34DD3-FFD7-4074-A584-E60C019613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8"/>
            </p:custDataLst>
            <p:extLst>
              <p:ext uri="{D42A27DB-BD31-4B8C-83A1-F6EECF244321}">
                <p14:modId xmlns:p14="http://schemas.microsoft.com/office/powerpoint/2010/main" val="15744907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9" imgW="306" imgH="306" progId="TCLayout.ActiveDocument.1">
                  <p:embed/>
                </p:oleObj>
              </mc:Choice>
              <mc:Fallback>
                <p:oleObj name="think-cell Slide" r:id="rId39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41D34DD3-FFD7-4074-A584-E60C019613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>
            <a:extLst>
              <a:ext uri="{FF2B5EF4-FFF2-40B4-BE49-F238E27FC236}">
                <a16:creationId xmlns:a16="http://schemas.microsoft.com/office/drawing/2014/main" id="{DF6C5D22-2D05-436C-B3FF-684C0326B5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1"/>
            <a:ext cx="9659938" cy="1414800"/>
          </a:xfrm>
          <a:prstGeom prst="rect">
            <a:avLst/>
          </a:prstGeom>
        </p:spPr>
        <p:txBody>
          <a:bodyPr vert="horz" lIns="626400" tIns="37800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3E46A9A-BF3F-41A6-ABFA-1F80C067E1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7063" y="1414800"/>
            <a:ext cx="8207375" cy="47529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Date">
            <a:extLst>
              <a:ext uri="{FF2B5EF4-FFF2-40B4-BE49-F238E27FC236}">
                <a16:creationId xmlns:a16="http://schemas.microsoft.com/office/drawing/2014/main" id="{455CD075-4A70-4E32-A9A2-91B316A76D0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526800"/>
            <a:ext cx="1692000" cy="331200"/>
          </a:xfrm>
          <a:prstGeom prst="rect">
            <a:avLst/>
          </a:prstGeom>
        </p:spPr>
        <p:txBody>
          <a:bodyPr vert="horz" lIns="626400" tIns="0" rIns="0" bIns="0" rtlCol="0" anchor="t" anchorCtr="0"/>
          <a:lstStyle>
            <a:lvl1pPr algn="l" rtl="0">
              <a:defRPr lang="en-US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/>
          </a:p>
        </p:txBody>
      </p:sp>
      <p:sp>
        <p:nvSpPr>
          <p:cNvPr id="5" name="Footer">
            <a:extLst>
              <a:ext uri="{FF2B5EF4-FFF2-40B4-BE49-F238E27FC236}">
                <a16:creationId xmlns:a16="http://schemas.microsoft.com/office/drawing/2014/main" id="{3A3DCAD1-02F3-4066-A56E-088FFE2186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08400" y="6526800"/>
            <a:ext cx="8484800" cy="170333"/>
          </a:xfrm>
          <a:prstGeom prst="rect">
            <a:avLst/>
          </a:prstGeom>
        </p:spPr>
        <p:txBody>
          <a:bodyPr vert="horz" lIns="0" tIns="0" rIns="835200" bIns="0" rtlCol="0" anchor="t"/>
          <a:lstStyle>
            <a:lvl1pPr algn="r" rtl="0">
              <a:defRPr lang="en-US" sz="1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/>
              <a:t>Restricted © Siemens Gamesa Renewable Energy, YYYY | Author | Department</a:t>
            </a:r>
            <a:endParaRPr lang="en-GB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CF18B48C-AD01-4D10-ADDC-CBE83D3C91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4000" y="6526800"/>
            <a:ext cx="828000" cy="331200"/>
          </a:xfrm>
          <a:prstGeom prst="rect">
            <a:avLst/>
          </a:prstGeom>
        </p:spPr>
        <p:txBody>
          <a:bodyPr vert="horz" lIns="0" tIns="0" rIns="482400" bIns="0" rtlCol="0" anchor="t" anchorCtr="0"/>
          <a:lstStyle>
            <a:lvl1pPr algn="r" rtl="0">
              <a:defRPr lang="en-US" sz="10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E5B0116A-0D09-4E99-8C69-B4C15A5D8A2B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369773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84" r:id="rId2"/>
    <p:sldLayoutId id="2147483703" r:id="rId3"/>
    <p:sldLayoutId id="2147483686" r:id="rId4"/>
    <p:sldLayoutId id="2147483687" r:id="rId5"/>
    <p:sldLayoutId id="2147483702" r:id="rId6"/>
    <p:sldLayoutId id="2147483649" r:id="rId7"/>
    <p:sldLayoutId id="2147483662" r:id="rId8"/>
    <p:sldLayoutId id="2147483681" r:id="rId9"/>
    <p:sldLayoutId id="2147483663" r:id="rId10"/>
    <p:sldLayoutId id="2147483664" r:id="rId11"/>
    <p:sldLayoutId id="2147483683" r:id="rId12"/>
    <p:sldLayoutId id="2147483665" r:id="rId13"/>
    <p:sldLayoutId id="2147483666" r:id="rId14"/>
    <p:sldLayoutId id="2147483667" r:id="rId15"/>
    <p:sldLayoutId id="2147483668" r:id="rId16"/>
    <p:sldLayoutId id="2147483669" r:id="rId17"/>
    <p:sldLayoutId id="2147483688" r:id="rId18"/>
    <p:sldLayoutId id="2147483650" r:id="rId19"/>
    <p:sldLayoutId id="2147483671" r:id="rId20"/>
    <p:sldLayoutId id="2147483700" r:id="rId21"/>
    <p:sldLayoutId id="2147483672" r:id="rId22"/>
    <p:sldLayoutId id="2147483673" r:id="rId23"/>
    <p:sldLayoutId id="2147483674" r:id="rId24"/>
    <p:sldLayoutId id="2147483675" r:id="rId25"/>
    <p:sldLayoutId id="2147483676" r:id="rId26"/>
    <p:sldLayoutId id="2147483677" r:id="rId27"/>
    <p:sldLayoutId id="2147483678" r:id="rId28"/>
    <p:sldLayoutId id="2147483670" r:id="rId29"/>
    <p:sldLayoutId id="2147483701" r:id="rId30"/>
    <p:sldLayoutId id="2147483698" r:id="rId31"/>
    <p:sldLayoutId id="2147483699" r:id="rId32"/>
    <p:sldLayoutId id="2147483696" r:id="rId33"/>
    <p:sldLayoutId id="2147483697" r:id="rId34"/>
    <p:sldLayoutId id="2147483693" r:id="rId35"/>
    <p:sldLayoutId id="2147483679" r:id="rId36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95" userDrawn="1">
          <p15:clr>
            <a:srgbClr val="009999"/>
          </p15:clr>
        </p15:guide>
        <p15:guide id="2" pos="2662">
          <p15:clr>
            <a:srgbClr val="009999"/>
          </p15:clr>
        </p15:guide>
        <p15:guide id="3" pos="3842">
          <p15:clr>
            <a:srgbClr val="009999"/>
          </p15:clr>
        </p15:guide>
        <p15:guide id="4" pos="3932">
          <p15:clr>
            <a:srgbClr val="009999"/>
          </p15:clr>
        </p15:guide>
        <p15:guide id="5" pos="5565">
          <p15:clr>
            <a:srgbClr val="009999"/>
          </p15:clr>
        </p15:guide>
        <p15:guide id="6" pos="6087">
          <p15:clr>
            <a:srgbClr val="009999"/>
          </p15:clr>
        </p15:guide>
        <p15:guide id="7" pos="7379">
          <p15:clr>
            <a:srgbClr val="009999"/>
          </p15:clr>
        </p15:guide>
        <p15:guide id="9" orient="horz" pos="891">
          <p15:clr>
            <a:srgbClr val="009999"/>
          </p15:clr>
        </p15:guide>
        <p15:guide id="10" orient="horz" pos="1073">
          <p15:clr>
            <a:srgbClr val="009999"/>
          </p15:clr>
        </p15:guide>
        <p15:guide id="11" orient="horz" pos="2343">
          <p15:clr>
            <a:srgbClr val="009999"/>
          </p15:clr>
        </p15:guide>
        <p15:guide id="12" orient="horz" pos="2433">
          <p15:clr>
            <a:srgbClr val="009999"/>
          </p15:clr>
        </p15:guide>
        <p15:guide id="13" orient="horz" pos="3703">
          <p15:clr>
            <a:srgbClr val="009999"/>
          </p15:clr>
        </p15:guide>
        <p15:guide id="14" orient="horz" pos="3885">
          <p15:clr>
            <a:srgbClr val="009999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9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8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47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46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9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svg"/><Relationship Id="rId3" Type="http://schemas.openxmlformats.org/officeDocument/2006/relationships/oleObject" Target="../embeddings/oleObject47.bin"/><Relationship Id="rId7" Type="http://schemas.openxmlformats.org/officeDocument/2006/relationships/image" Target="../media/image23.png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48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16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49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48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7" Type="http://schemas.openxmlformats.org/officeDocument/2006/relationships/image" Target="../media/image25.jpeg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50.xml"/><Relationship Id="rId6" Type="http://schemas.openxmlformats.org/officeDocument/2006/relationships/hyperlink" Target="mailto:sami.walid@siemensgamesa.com" TargetMode="Externa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49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40.xml"/><Relationship Id="rId6" Type="http://schemas.openxmlformats.org/officeDocument/2006/relationships/image" Target="../media/image13.jpe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39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41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40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42.xml"/><Relationship Id="rId4" Type="http://schemas.openxmlformats.org/officeDocument/2006/relationships/image" Target="../media/image16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43.x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7" Type="http://schemas.openxmlformats.org/officeDocument/2006/relationships/image" Target="../media/image20.png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44.xml"/><Relationship Id="rId6" Type="http://schemas.openxmlformats.org/officeDocument/2006/relationships/image" Target="../media/image19.png"/><Relationship Id="rId5" Type="http://schemas.openxmlformats.org/officeDocument/2006/relationships/image" Target="../media/image18.jpeg"/><Relationship Id="rId4" Type="http://schemas.openxmlformats.org/officeDocument/2006/relationships/image" Target="../media/image12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45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44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46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4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AC42BB6-F905-9DCE-0C4A-1497682E99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447661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AC42BB6-F905-9DCE-0C4A-1497682E99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20910E3-657B-6EB0-E497-81A32ED2E41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7061" y="1414800"/>
            <a:ext cx="7347561" cy="3114000"/>
          </a:xfrm>
        </p:spPr>
        <p:txBody>
          <a:bodyPr vert="horz"/>
          <a:lstStyle/>
          <a:p>
            <a:r>
              <a:rPr lang="en-US" dirty="0"/>
              <a:t>Virtual Reality </a:t>
            </a:r>
            <a:r>
              <a:rPr lang="en-US" dirty="0" err="1"/>
              <a:t>til</a:t>
            </a:r>
            <a:r>
              <a:rPr lang="en-US" dirty="0"/>
              <a:t> </a:t>
            </a:r>
            <a:r>
              <a:rPr lang="en-US" dirty="0" err="1"/>
              <a:t>teknisk</a:t>
            </a:r>
            <a:r>
              <a:rPr lang="en-US" dirty="0"/>
              <a:t> </a:t>
            </a:r>
            <a:r>
              <a:rPr lang="en-US" dirty="0" err="1"/>
              <a:t>træning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Siemens Gamesa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0CD8039B-898F-CCFF-7785-C2FA7CC6D5C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/>
              <a:t>Sami El-Daoud, Global Training Excellenc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EDDBDD0-E4CC-D12B-644F-5073E5548D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08400" y="6526800"/>
            <a:ext cx="8484800" cy="331200"/>
          </a:xfrm>
          <a:prstGeom prst="rect">
            <a:avLst/>
          </a:prstGeom>
        </p:spPr>
        <p:txBody>
          <a:bodyPr vert="horz" lIns="0" tIns="0" rIns="482400" bIns="0" rtlCol="0" anchor="t"/>
          <a:lstStyle>
            <a:defPPr>
              <a:defRPr lang="de-DE"/>
            </a:defPPr>
            <a:lvl1pPr marL="0" algn="r" defTabSz="914400" rtl="0" eaLnBrk="1" latinLnBrk="0" hangingPunct="1">
              <a:defRPr lang="en-US" sz="1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© Siemens Gamesa Renewable Energy, 2025 | Sami El-Daou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8104248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D07FA8C-5C80-70B6-1294-A9D1850507E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D07FA8C-5C80-70B6-1294-A9D1850507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89E23F2-3FD0-2FF1-D6B1-707861013C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Agenda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5C4BF6B-E90B-F12E-247C-C8E9DADFB8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Siemens Gamesa Renewable Energy, 2025 | Sami El-Daoud</a:t>
            </a:r>
            <a:endParaRPr lang="en-GB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718048DB-81A1-1FD8-BD2D-0D5F69E68A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D1E00E-1E4E-4C8B-96B1-5A423A77B51C}" type="datetime1">
              <a:rPr lang="en-US" smtClean="0"/>
              <a:t>2/6/2025</a:t>
            </a:fld>
            <a:endParaRPr lang="en-US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AC46B636-73F3-D369-F489-A853262C57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B0116A-0D09-4E99-8C69-B4C15A5D8A2B}" type="slidenum">
              <a:rPr lang="en-US" smtClean="0"/>
              <a:pPr/>
              <a:t>10</a:t>
            </a:fld>
            <a:endParaRPr lang="en-US"/>
          </a:p>
        </p:txBody>
      </p:sp>
      <p:cxnSp>
        <p:nvCxnSpPr>
          <p:cNvPr id="10" name="Time line">
            <a:extLst>
              <a:ext uri="{FF2B5EF4-FFF2-40B4-BE49-F238E27FC236}">
                <a16:creationId xmlns:a16="http://schemas.microsoft.com/office/drawing/2014/main" id="{7E1F234D-09FC-6A3D-1ADB-54AD26135AD6}"/>
              </a:ext>
            </a:extLst>
          </p:cNvPr>
          <p:cNvCxnSpPr>
            <a:cxnSpLocks/>
          </p:cNvCxnSpPr>
          <p:nvPr/>
        </p:nvCxnSpPr>
        <p:spPr>
          <a:xfrm>
            <a:off x="1" y="3102686"/>
            <a:ext cx="9544049" cy="0"/>
          </a:xfrm>
          <a:prstGeom prst="line">
            <a:avLst/>
          </a:prstGeom>
          <a:ln w="38100">
            <a:solidFill>
              <a:srgbClr val="5A467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Copy 1">
            <a:extLst>
              <a:ext uri="{FF2B5EF4-FFF2-40B4-BE49-F238E27FC236}">
                <a16:creationId xmlns:a16="http://schemas.microsoft.com/office/drawing/2014/main" id="{B35B4E8E-A46E-B15A-6F8E-8427CA62D85D}"/>
              </a:ext>
            </a:extLst>
          </p:cNvPr>
          <p:cNvSpPr txBox="1">
            <a:spLocks/>
          </p:cNvSpPr>
          <p:nvPr/>
        </p:nvSpPr>
        <p:spPr>
          <a:xfrm>
            <a:off x="1391954" y="4239082"/>
            <a:ext cx="1537541" cy="79149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300"/>
              </a:spcAft>
            </a:pPr>
            <a:r>
              <a:rPr lang="en-US" b="1" dirty="0"/>
              <a:t>VR deep dive</a:t>
            </a:r>
          </a:p>
          <a:p>
            <a:r>
              <a:rPr lang="en-US" sz="1400" dirty="0" err="1"/>
              <a:t>Anvendelse</a:t>
            </a:r>
            <a:r>
              <a:rPr lang="en-US" sz="1400" dirty="0"/>
              <a:t> </a:t>
            </a:r>
            <a:r>
              <a:rPr lang="en-US" sz="1400" dirty="0" err="1"/>
              <a:t>af</a:t>
            </a:r>
            <a:r>
              <a:rPr lang="en-US" sz="1400" dirty="0"/>
              <a:t> VR </a:t>
            </a:r>
            <a:r>
              <a:rPr lang="en-US" sz="1400" dirty="0" err="1"/>
              <a:t>i</a:t>
            </a:r>
            <a:r>
              <a:rPr lang="en-US" sz="1400" dirty="0"/>
              <a:t> SGRE</a:t>
            </a:r>
          </a:p>
          <a:p>
            <a:endParaRPr lang="en-US" sz="1400" dirty="0"/>
          </a:p>
        </p:txBody>
      </p:sp>
      <p:sp>
        <p:nvSpPr>
          <p:cNvPr id="39" name="Copy 1">
            <a:extLst>
              <a:ext uri="{FF2B5EF4-FFF2-40B4-BE49-F238E27FC236}">
                <a16:creationId xmlns:a16="http://schemas.microsoft.com/office/drawing/2014/main" id="{132338B9-ED10-05A6-0160-17F3E5F3CB80}"/>
              </a:ext>
            </a:extLst>
          </p:cNvPr>
          <p:cNvSpPr txBox="1">
            <a:spLocks/>
          </p:cNvSpPr>
          <p:nvPr/>
        </p:nvSpPr>
        <p:spPr>
          <a:xfrm>
            <a:off x="4034393" y="4239082"/>
            <a:ext cx="1761626" cy="79149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300"/>
              </a:spcAft>
            </a:pPr>
            <a:r>
              <a:rPr lang="en-US" b="1" dirty="0"/>
              <a:t>Goggles on!</a:t>
            </a:r>
          </a:p>
          <a:p>
            <a:r>
              <a:rPr lang="en-US" sz="1400" dirty="0"/>
              <a:t>Show, don’t tell</a:t>
            </a:r>
          </a:p>
          <a:p>
            <a:endParaRPr lang="en-US" sz="1200" dirty="0"/>
          </a:p>
        </p:txBody>
      </p:sp>
      <p:sp>
        <p:nvSpPr>
          <p:cNvPr id="40" name="Copy 1">
            <a:extLst>
              <a:ext uri="{FF2B5EF4-FFF2-40B4-BE49-F238E27FC236}">
                <a16:creationId xmlns:a16="http://schemas.microsoft.com/office/drawing/2014/main" id="{5A5BEA9F-506D-7596-7CBA-0B8F93D1B97F}"/>
              </a:ext>
            </a:extLst>
          </p:cNvPr>
          <p:cNvSpPr txBox="1">
            <a:spLocks/>
          </p:cNvSpPr>
          <p:nvPr/>
        </p:nvSpPr>
        <p:spPr>
          <a:xfrm>
            <a:off x="6676833" y="4239082"/>
            <a:ext cx="1761625" cy="79149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300"/>
              </a:spcAft>
            </a:pPr>
            <a:r>
              <a:rPr lang="en-US" b="1" dirty="0"/>
              <a:t>Se </a:t>
            </a:r>
            <a:r>
              <a:rPr lang="en-US" b="1" dirty="0" err="1"/>
              <a:t>fremad</a:t>
            </a:r>
            <a:endParaRPr lang="en-US" b="1" dirty="0"/>
          </a:p>
          <a:p>
            <a:r>
              <a:rPr lang="en-US" sz="1400" dirty="0" err="1"/>
              <a:t>Udnyt</a:t>
            </a:r>
            <a:r>
              <a:rPr lang="en-US" sz="1400" dirty="0"/>
              <a:t> </a:t>
            </a:r>
            <a:r>
              <a:rPr lang="en-US" sz="1400" dirty="0" err="1"/>
              <a:t>potentialet</a:t>
            </a:r>
            <a:endParaRPr lang="en-US" sz="1200" dirty="0"/>
          </a:p>
        </p:txBody>
      </p:sp>
      <p:sp>
        <p:nvSpPr>
          <p:cNvPr id="17" name="Bullet 2">
            <a:extLst>
              <a:ext uri="{FF2B5EF4-FFF2-40B4-BE49-F238E27FC236}">
                <a16:creationId xmlns:a16="http://schemas.microsoft.com/office/drawing/2014/main" id="{F2A1CFED-73B4-C1C1-9AA3-78824B2C0064}"/>
              </a:ext>
            </a:extLst>
          </p:cNvPr>
          <p:cNvSpPr>
            <a:spLocks noChangeAspect="1"/>
          </p:cNvSpPr>
          <p:nvPr/>
        </p:nvSpPr>
        <p:spPr>
          <a:xfrm>
            <a:off x="3872163" y="2221873"/>
            <a:ext cx="1761626" cy="1761626"/>
          </a:xfrm>
          <a:prstGeom prst="ellipse">
            <a:avLst/>
          </a:prstGeom>
          <a:solidFill>
            <a:schemeClr val="accent3"/>
          </a:solidFill>
          <a:ln w="7620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8000" b="1" dirty="0">
                <a:solidFill>
                  <a:schemeClr val="accent1"/>
                </a:solidFill>
                <a:cs typeface="Times New Roman" panose="02020603050405020304" pitchFamily="18" charset="0"/>
              </a:rPr>
              <a:t>2</a:t>
            </a:r>
          </a:p>
        </p:txBody>
      </p:sp>
      <p:sp>
        <p:nvSpPr>
          <p:cNvPr id="33" name="Bullet 2">
            <a:extLst>
              <a:ext uri="{FF2B5EF4-FFF2-40B4-BE49-F238E27FC236}">
                <a16:creationId xmlns:a16="http://schemas.microsoft.com/office/drawing/2014/main" id="{5FBBC3A6-4DCB-D7DF-FC2D-468B18FD8EF7}"/>
              </a:ext>
            </a:extLst>
          </p:cNvPr>
          <p:cNvSpPr>
            <a:spLocks noChangeAspect="1"/>
          </p:cNvSpPr>
          <p:nvPr/>
        </p:nvSpPr>
        <p:spPr>
          <a:xfrm>
            <a:off x="6558213" y="2221873"/>
            <a:ext cx="1761626" cy="1761626"/>
          </a:xfrm>
          <a:prstGeom prst="ellipse">
            <a:avLst/>
          </a:prstGeom>
          <a:solidFill>
            <a:schemeClr val="accent3"/>
          </a:solidFill>
          <a:ln w="7620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8000" b="1" dirty="0">
                <a:solidFill>
                  <a:schemeClr val="accent1"/>
                </a:solidFill>
                <a:cs typeface="Times New Roman" panose="02020603050405020304" pitchFamily="18" charset="0"/>
              </a:rPr>
              <a:t>3</a:t>
            </a:r>
          </a:p>
        </p:txBody>
      </p:sp>
      <p:sp>
        <p:nvSpPr>
          <p:cNvPr id="37" name="Bullet 2">
            <a:extLst>
              <a:ext uri="{FF2B5EF4-FFF2-40B4-BE49-F238E27FC236}">
                <a16:creationId xmlns:a16="http://schemas.microsoft.com/office/drawing/2014/main" id="{045E4312-D46A-1DCF-B5CD-F11266BCF6A2}"/>
              </a:ext>
            </a:extLst>
          </p:cNvPr>
          <p:cNvSpPr>
            <a:spLocks noChangeAspect="1"/>
          </p:cNvSpPr>
          <p:nvPr/>
        </p:nvSpPr>
        <p:spPr>
          <a:xfrm>
            <a:off x="1167869" y="2221873"/>
            <a:ext cx="1761626" cy="1761626"/>
          </a:xfrm>
          <a:prstGeom prst="ellipse">
            <a:avLst/>
          </a:prstGeom>
          <a:solidFill>
            <a:schemeClr val="accent3"/>
          </a:solidFill>
          <a:ln w="7620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8000" b="1" dirty="0">
                <a:solidFill>
                  <a:schemeClr val="accent1"/>
                </a:solidFill>
                <a:cs typeface="Times New Roman" panose="02020603050405020304" pitchFamily="18" charset="0"/>
              </a:rPr>
              <a:t>1</a:t>
            </a:r>
          </a:p>
        </p:txBody>
      </p:sp>
      <p:sp>
        <p:nvSpPr>
          <p:cNvPr id="9" name="Copy 1">
            <a:extLst>
              <a:ext uri="{FF2B5EF4-FFF2-40B4-BE49-F238E27FC236}">
                <a16:creationId xmlns:a16="http://schemas.microsoft.com/office/drawing/2014/main" id="{D870E92B-457C-8119-661F-9B9A9F4940C5}"/>
              </a:ext>
            </a:extLst>
          </p:cNvPr>
          <p:cNvSpPr txBox="1">
            <a:spLocks/>
          </p:cNvSpPr>
          <p:nvPr/>
        </p:nvSpPr>
        <p:spPr>
          <a:xfrm>
            <a:off x="9319272" y="4239082"/>
            <a:ext cx="2129778" cy="79149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300"/>
              </a:spcAft>
            </a:pPr>
            <a:r>
              <a:rPr lang="en-US" b="1" dirty="0" err="1"/>
              <a:t>Anvendelse</a:t>
            </a:r>
            <a:r>
              <a:rPr lang="en-US" b="1" dirty="0"/>
              <a:t> </a:t>
            </a:r>
            <a:r>
              <a:rPr lang="en-US" b="1" dirty="0" err="1"/>
              <a:t>i</a:t>
            </a:r>
            <a:r>
              <a:rPr lang="en-US" b="1" dirty="0"/>
              <a:t> FSV</a:t>
            </a:r>
          </a:p>
          <a:p>
            <a:r>
              <a:rPr lang="en-US" sz="1400" dirty="0" err="1"/>
              <a:t>Hvad</a:t>
            </a:r>
            <a:r>
              <a:rPr lang="en-US" sz="1400" dirty="0"/>
              <a:t> </a:t>
            </a:r>
            <a:r>
              <a:rPr lang="en-US" sz="1400" dirty="0" err="1"/>
              <a:t>tænker</a:t>
            </a:r>
            <a:r>
              <a:rPr lang="en-US" sz="1400" dirty="0"/>
              <a:t> I?</a:t>
            </a:r>
          </a:p>
          <a:p>
            <a:r>
              <a:rPr lang="en-US" sz="1400" dirty="0"/>
              <a:t>Q&amp;A</a:t>
            </a:r>
          </a:p>
          <a:p>
            <a:endParaRPr lang="en-US" sz="1400" dirty="0"/>
          </a:p>
        </p:txBody>
      </p:sp>
      <p:sp>
        <p:nvSpPr>
          <p:cNvPr id="11" name="Bullet 2">
            <a:extLst>
              <a:ext uri="{FF2B5EF4-FFF2-40B4-BE49-F238E27FC236}">
                <a16:creationId xmlns:a16="http://schemas.microsoft.com/office/drawing/2014/main" id="{282B9DD0-9EA8-ECC1-2749-54FD87FC67B6}"/>
              </a:ext>
            </a:extLst>
          </p:cNvPr>
          <p:cNvSpPr>
            <a:spLocks noChangeAspect="1"/>
          </p:cNvSpPr>
          <p:nvPr/>
        </p:nvSpPr>
        <p:spPr>
          <a:xfrm>
            <a:off x="9244263" y="2185822"/>
            <a:ext cx="1761626" cy="1761626"/>
          </a:xfrm>
          <a:prstGeom prst="ellipse">
            <a:avLst/>
          </a:prstGeom>
          <a:solidFill>
            <a:schemeClr val="accent3"/>
          </a:solidFill>
          <a:ln w="7620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8000" b="1" dirty="0">
                <a:solidFill>
                  <a:schemeClr val="accent1"/>
                </a:solidFill>
                <a:cs typeface="Times New Roman" panose="02020603050405020304" pitchFamily="18" charset="0"/>
              </a:rPr>
              <a:t>4</a:t>
            </a:r>
          </a:p>
        </p:txBody>
      </p:sp>
      <p:sp>
        <p:nvSpPr>
          <p:cNvPr id="4" name="Rechteck 4">
            <a:extLst>
              <a:ext uri="{FF2B5EF4-FFF2-40B4-BE49-F238E27FC236}">
                <a16:creationId xmlns:a16="http://schemas.microsoft.com/office/drawing/2014/main" id="{9ED11C44-8DAB-3CD1-D34B-338F5734F3D6}"/>
              </a:ext>
            </a:extLst>
          </p:cNvPr>
          <p:cNvSpPr>
            <a:spLocks/>
          </p:cNvSpPr>
          <p:nvPr/>
        </p:nvSpPr>
        <p:spPr>
          <a:xfrm>
            <a:off x="1167867" y="1603573"/>
            <a:ext cx="4909086" cy="4175118"/>
          </a:xfrm>
          <a:prstGeom prst="rect">
            <a:avLst/>
          </a:prstGeom>
          <a:solidFill>
            <a:schemeClr val="accent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t"/>
          <a:lstStyle/>
          <a:p>
            <a:pPr algn="l"/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A1B5BC95-AD0C-E7A0-B3A3-77633E1C992E}"/>
              </a:ext>
            </a:extLst>
          </p:cNvPr>
          <p:cNvSpPr>
            <a:spLocks/>
          </p:cNvSpPr>
          <p:nvPr/>
        </p:nvSpPr>
        <p:spPr>
          <a:xfrm>
            <a:off x="8814123" y="1414801"/>
            <a:ext cx="2466975" cy="4175118"/>
          </a:xfrm>
          <a:prstGeom prst="rect">
            <a:avLst/>
          </a:prstGeom>
          <a:solidFill>
            <a:schemeClr val="accent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t"/>
          <a:lstStyle/>
          <a:p>
            <a:pPr algn="l"/>
            <a:endParaRPr lang="en-US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106322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3DC667-C3ED-D8E5-00A4-ED200E6AA6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9CEF333-5C40-0253-49E6-85B433948A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Siemens Gamesa Renewable Energy, 2025 | Sami El-Daoud</a:t>
            </a:r>
            <a:endParaRPr lang="en-GB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A803FE3-C5E6-066C-80FD-8E53C4A40374}"/>
              </a:ext>
            </a:extLst>
          </p:cNvPr>
          <p:cNvSpPr txBox="1"/>
          <p:nvPr/>
        </p:nvSpPr>
        <p:spPr>
          <a:xfrm>
            <a:off x="3649714" y="2984937"/>
            <a:ext cx="7189077" cy="316098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3200" dirty="0" err="1"/>
              <a:t>Hvordan</a:t>
            </a:r>
            <a:r>
              <a:rPr lang="en-US" sz="3200" dirty="0"/>
              <a:t> </a:t>
            </a:r>
            <a:r>
              <a:rPr lang="en-US" sz="3200" dirty="0" err="1"/>
              <a:t>kan</a:t>
            </a:r>
            <a:r>
              <a:rPr lang="en-US" sz="3200" dirty="0"/>
              <a:t> vi </a:t>
            </a:r>
            <a:r>
              <a:rPr lang="en-US" sz="3200" dirty="0" err="1"/>
              <a:t>udnytte</a:t>
            </a:r>
            <a:r>
              <a:rPr lang="en-US" sz="3200" dirty="0"/>
              <a:t> VR </a:t>
            </a:r>
            <a:r>
              <a:rPr lang="en-US" sz="3200" dirty="0" err="1"/>
              <a:t>til</a:t>
            </a:r>
            <a:r>
              <a:rPr lang="en-US" sz="3200" dirty="0"/>
              <a:t> at </a:t>
            </a:r>
            <a:r>
              <a:rPr lang="en-US" sz="3200" dirty="0" err="1"/>
              <a:t>hæve</a:t>
            </a:r>
            <a:r>
              <a:rPr lang="en-US" sz="3200" dirty="0"/>
              <a:t> </a:t>
            </a:r>
            <a:r>
              <a:rPr lang="en-US" sz="3200" dirty="0" err="1">
                <a:solidFill>
                  <a:srgbClr val="00B0AD"/>
                </a:solidFill>
              </a:rPr>
              <a:t>kompetencer</a:t>
            </a:r>
            <a:r>
              <a:rPr lang="en-US" sz="3200" dirty="0"/>
              <a:t> </a:t>
            </a:r>
            <a:r>
              <a:rPr lang="en-US" sz="3200" dirty="0" err="1"/>
              <a:t>samt</a:t>
            </a:r>
            <a:r>
              <a:rPr lang="en-US" sz="3200" dirty="0"/>
              <a:t> </a:t>
            </a:r>
            <a:r>
              <a:rPr lang="en-US" sz="3200" dirty="0" err="1"/>
              <a:t>optimere</a:t>
            </a:r>
            <a:r>
              <a:rPr lang="en-US" sz="3200" dirty="0"/>
              <a:t> </a:t>
            </a:r>
            <a:r>
              <a:rPr lang="en-US" sz="3200" dirty="0" err="1">
                <a:solidFill>
                  <a:srgbClr val="00B0AD"/>
                </a:solidFill>
              </a:rPr>
              <a:t>kvalitet</a:t>
            </a:r>
            <a:r>
              <a:rPr lang="en-US" sz="3200" dirty="0"/>
              <a:t> </a:t>
            </a:r>
            <a:r>
              <a:rPr lang="en-US" sz="3200" dirty="0" err="1"/>
              <a:t>og</a:t>
            </a:r>
            <a:r>
              <a:rPr lang="en-US" sz="3200" dirty="0"/>
              <a:t> </a:t>
            </a:r>
            <a:r>
              <a:rPr lang="en-US" sz="3200" dirty="0">
                <a:solidFill>
                  <a:srgbClr val="00B0AD"/>
                </a:solidFill>
              </a:rPr>
              <a:t>processer</a:t>
            </a:r>
            <a:r>
              <a:rPr lang="en-US" sz="3200" dirty="0"/>
              <a:t>?</a:t>
            </a:r>
          </a:p>
        </p:txBody>
      </p:sp>
      <p:pic>
        <p:nvPicPr>
          <p:cNvPr id="6" name="Graphic 5" descr="Question Mark with solid fill">
            <a:extLst>
              <a:ext uri="{FF2B5EF4-FFF2-40B4-BE49-F238E27FC236}">
                <a16:creationId xmlns:a16="http://schemas.microsoft.com/office/drawing/2014/main" id="{B7621E60-307A-4899-E9C2-EAE40B5939A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203431" y="2417378"/>
            <a:ext cx="2446283" cy="2446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075726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003CC87-3FBD-3514-3939-76E4C0DDD16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4147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003CC87-3FBD-3514-3939-76E4C0DDD1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8406B70-37D5-F400-8861-DE96D6940C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1"/>
            <a:ext cx="9659938" cy="1414800"/>
          </a:xfrm>
        </p:spPr>
        <p:txBody>
          <a:bodyPr vert="horz"/>
          <a:lstStyle/>
          <a:p>
            <a:r>
              <a:rPr lang="en-US" dirty="0"/>
              <a:t>Se </a:t>
            </a:r>
            <a:r>
              <a:rPr lang="en-US" dirty="0" err="1"/>
              <a:t>fremad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D071EAD-50B8-CF01-8B33-6900E237F0F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526800"/>
            <a:ext cx="1692000" cy="331200"/>
          </a:xfrm>
        </p:spPr>
        <p:txBody>
          <a:bodyPr/>
          <a:lstStyle/>
          <a:p>
            <a:fld id="{16F41B5E-094B-4437-B464-AF43902D4CCA}" type="datetime1">
              <a:rPr lang="en-US" smtClean="0"/>
              <a:t>2/6/2025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5B665B6-7452-8EA1-4643-E920ADCC50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42400" y="6526800"/>
            <a:ext cx="5950800" cy="331200"/>
          </a:xfrm>
        </p:spPr>
        <p:txBody>
          <a:bodyPr/>
          <a:lstStyle/>
          <a:p>
            <a:r>
              <a:rPr lang="en-US" dirty="0"/>
              <a:t>© Siemens Gamesa Renewable Energy, 2025 | Sami El-Daoud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92C4F42-DD23-0C7E-9417-87DEC81D11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64000" y="6526800"/>
            <a:ext cx="828000" cy="331200"/>
          </a:xfrm>
        </p:spPr>
        <p:txBody>
          <a:bodyPr/>
          <a:lstStyle/>
          <a:p>
            <a:fld id="{E5B0116A-0D09-4E99-8C69-B4C15A5D8A2B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13" name="Copy 1">
            <a:extLst>
              <a:ext uri="{FF2B5EF4-FFF2-40B4-BE49-F238E27FC236}">
                <a16:creationId xmlns:a16="http://schemas.microsoft.com/office/drawing/2014/main" id="{696FD8B2-753B-9051-94E4-E17611F035B0}"/>
              </a:ext>
            </a:extLst>
          </p:cNvPr>
          <p:cNvSpPr txBox="1">
            <a:spLocks/>
          </p:cNvSpPr>
          <p:nvPr/>
        </p:nvSpPr>
        <p:spPr bwMode="gray">
          <a:xfrm>
            <a:off x="627064" y="2197854"/>
            <a:ext cx="3455700" cy="312330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defPPr>
              <a:defRPr lang="de-DE"/>
            </a:defPPr>
            <a:lvl1pPr indent="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b="0"/>
            </a:lvl1pPr>
            <a:lvl2pPr marL="180000" indent="-180000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lvl2pPr>
            <a:lvl3pPr marL="360000" indent="-180000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lvl3pPr>
            <a:lvl4pPr marL="540000" indent="-180000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lvl4pPr>
            <a:lvl5pPr marL="720000" indent="-180000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sz="2000" b="1" dirty="0" err="1"/>
              <a:t>Planlagte</a:t>
            </a:r>
            <a:r>
              <a:rPr lang="en-US" sz="2000" b="1" dirty="0"/>
              <a:t> </a:t>
            </a:r>
            <a:r>
              <a:rPr lang="en-US" sz="2000" b="1" dirty="0" err="1"/>
              <a:t>udviklinger</a:t>
            </a:r>
            <a:endParaRPr lang="en-US" sz="2000" b="1" dirty="0"/>
          </a:p>
        </p:txBody>
      </p:sp>
      <p:sp>
        <p:nvSpPr>
          <p:cNvPr id="14" name="Copy 1">
            <a:extLst>
              <a:ext uri="{FF2B5EF4-FFF2-40B4-BE49-F238E27FC236}">
                <a16:creationId xmlns:a16="http://schemas.microsoft.com/office/drawing/2014/main" id="{0B74D067-EBFB-164C-C85D-94ACD008C7C2}"/>
              </a:ext>
            </a:extLst>
          </p:cNvPr>
          <p:cNvSpPr txBox="1">
            <a:spLocks/>
          </p:cNvSpPr>
          <p:nvPr/>
        </p:nvSpPr>
        <p:spPr bwMode="gray">
          <a:xfrm>
            <a:off x="4442764" y="2197854"/>
            <a:ext cx="3455700" cy="312330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defPPr>
              <a:defRPr lang="de-DE"/>
            </a:defPPr>
            <a:lvl1pPr indent="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b="0"/>
            </a:lvl1pPr>
            <a:lvl2pPr marL="180000" indent="-180000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lvl2pPr>
            <a:lvl3pPr marL="360000" indent="-180000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lvl3pPr>
            <a:lvl4pPr marL="540000" indent="-180000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lvl4pPr>
            <a:lvl5pPr marL="720000" indent="-180000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sz="2000" b="1"/>
              <a:t>AI</a:t>
            </a:r>
          </a:p>
        </p:txBody>
      </p:sp>
      <p:sp>
        <p:nvSpPr>
          <p:cNvPr id="15" name="Copy 1">
            <a:extLst>
              <a:ext uri="{FF2B5EF4-FFF2-40B4-BE49-F238E27FC236}">
                <a16:creationId xmlns:a16="http://schemas.microsoft.com/office/drawing/2014/main" id="{11652DF3-7FE9-C700-A009-235C90133118}"/>
              </a:ext>
            </a:extLst>
          </p:cNvPr>
          <p:cNvSpPr txBox="1">
            <a:spLocks/>
          </p:cNvSpPr>
          <p:nvPr/>
        </p:nvSpPr>
        <p:spPr bwMode="gray">
          <a:xfrm>
            <a:off x="8258464" y="1859300"/>
            <a:ext cx="3455700" cy="65088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defPPr>
              <a:defRPr lang="de-DE"/>
            </a:defPPr>
            <a:lvl1pPr indent="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b="0"/>
            </a:lvl1pPr>
            <a:lvl2pPr marL="180000" indent="-180000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lvl2pPr>
            <a:lvl3pPr marL="360000" indent="-180000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lvl3pPr>
            <a:lvl4pPr marL="540000" indent="-180000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lvl4pPr>
            <a:lvl5pPr marL="720000" indent="-180000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sz="2000" b="1" spc="-20" dirty="0"/>
              <a:t>Business Integration </a:t>
            </a:r>
            <a:br>
              <a:rPr lang="en-US" sz="2000" b="1" dirty="0"/>
            </a:br>
            <a:r>
              <a:rPr lang="en-US" sz="2000" b="1" dirty="0"/>
              <a:t>Potential</a:t>
            </a:r>
          </a:p>
        </p:txBody>
      </p:sp>
      <p:sp>
        <p:nvSpPr>
          <p:cNvPr id="17" name="Copy 1">
            <a:extLst>
              <a:ext uri="{FF2B5EF4-FFF2-40B4-BE49-F238E27FC236}">
                <a16:creationId xmlns:a16="http://schemas.microsoft.com/office/drawing/2014/main" id="{F359F2E5-2287-70A2-3C72-81C254F90DEC}"/>
              </a:ext>
            </a:extLst>
          </p:cNvPr>
          <p:cNvSpPr txBox="1">
            <a:spLocks/>
          </p:cNvSpPr>
          <p:nvPr/>
        </p:nvSpPr>
        <p:spPr bwMode="gray">
          <a:xfrm>
            <a:off x="4442764" y="2866787"/>
            <a:ext cx="3455700" cy="186204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en-US" sz="1600" b="1" dirty="0" err="1"/>
              <a:t>Maksimer</a:t>
            </a:r>
            <a:r>
              <a:rPr lang="en-US" sz="1600" b="1" dirty="0"/>
              <a:t> </a:t>
            </a:r>
            <a:r>
              <a:rPr lang="en-US" sz="1600" b="1" dirty="0" err="1"/>
              <a:t>potentialet</a:t>
            </a:r>
            <a:r>
              <a:rPr lang="en-US" sz="1600" b="1" dirty="0"/>
              <a:t> med AI:</a:t>
            </a:r>
          </a:p>
          <a:p>
            <a:pPr lvl="1">
              <a:lnSpc>
                <a:spcPct val="10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 sz="1600" dirty="0" err="1"/>
              <a:t>Udvikling</a:t>
            </a:r>
            <a:r>
              <a:rPr lang="en-US" sz="1600" dirty="0"/>
              <a:t> </a:t>
            </a:r>
            <a:r>
              <a:rPr lang="en-US" sz="1600" dirty="0" err="1"/>
              <a:t>og</a:t>
            </a:r>
            <a:r>
              <a:rPr lang="en-US" sz="1600" dirty="0"/>
              <a:t> </a:t>
            </a:r>
            <a:r>
              <a:rPr lang="en-US" sz="1600" dirty="0" err="1"/>
              <a:t>justering</a:t>
            </a:r>
            <a:r>
              <a:rPr lang="en-US" sz="1600" dirty="0"/>
              <a:t> </a:t>
            </a:r>
            <a:r>
              <a:rPr lang="en-US" sz="1600" dirty="0" err="1"/>
              <a:t>af</a:t>
            </a:r>
            <a:r>
              <a:rPr lang="en-US" sz="1600" dirty="0"/>
              <a:t> </a:t>
            </a:r>
            <a:r>
              <a:rPr lang="en-US" sz="1600" dirty="0" err="1"/>
              <a:t>træning</a:t>
            </a:r>
            <a:endParaRPr lang="en-US" sz="1600" dirty="0"/>
          </a:p>
          <a:p>
            <a:pPr lvl="1">
              <a:lnSpc>
                <a:spcPct val="10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 sz="1600" dirty="0" err="1"/>
              <a:t>Vindmølle</a:t>
            </a:r>
            <a:r>
              <a:rPr lang="en-US" sz="1600" dirty="0"/>
              <a:t> design</a:t>
            </a:r>
          </a:p>
          <a:p>
            <a:pPr lvl="1">
              <a:lnSpc>
                <a:spcPct val="10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 sz="1600" dirty="0" err="1"/>
              <a:t>Procesoptimering</a:t>
            </a:r>
            <a:endParaRPr lang="en-US" sz="1600" dirty="0"/>
          </a:p>
          <a:p>
            <a:pPr marL="0" lvl="1" indent="0">
              <a:lnSpc>
                <a:spcPct val="100000"/>
              </a:lnSpc>
              <a:spcAft>
                <a:spcPts val="600"/>
              </a:spcAft>
              <a:buClr>
                <a:schemeClr val="tx1"/>
              </a:buClr>
              <a:buNone/>
            </a:pPr>
            <a:endParaRPr lang="en-US" sz="1600" dirty="0"/>
          </a:p>
          <a:p>
            <a:pPr>
              <a:lnSpc>
                <a:spcPct val="100000"/>
              </a:lnSpc>
              <a:spcAft>
                <a:spcPts val="600"/>
              </a:spcAft>
            </a:pPr>
            <a:endParaRPr lang="en-US" sz="1600" dirty="0"/>
          </a:p>
        </p:txBody>
      </p:sp>
      <p:sp>
        <p:nvSpPr>
          <p:cNvPr id="16" name="Copy 1">
            <a:extLst>
              <a:ext uri="{FF2B5EF4-FFF2-40B4-BE49-F238E27FC236}">
                <a16:creationId xmlns:a16="http://schemas.microsoft.com/office/drawing/2014/main" id="{2C209EEC-E8B7-A86B-F336-9036E394DB32}"/>
              </a:ext>
            </a:extLst>
          </p:cNvPr>
          <p:cNvSpPr txBox="1">
            <a:spLocks/>
          </p:cNvSpPr>
          <p:nvPr/>
        </p:nvSpPr>
        <p:spPr bwMode="gray">
          <a:xfrm>
            <a:off x="627063" y="2866787"/>
            <a:ext cx="3455700" cy="235449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en-US" sz="1600" b="1" dirty="0"/>
              <a:t>Vi </a:t>
            </a:r>
            <a:r>
              <a:rPr lang="en-US" sz="1600" b="1" dirty="0" err="1"/>
              <a:t>arbejder</a:t>
            </a:r>
            <a:r>
              <a:rPr lang="en-US" sz="1600" b="1" dirty="0"/>
              <a:t> nu med at </a:t>
            </a:r>
            <a:r>
              <a:rPr lang="en-US" sz="1600" b="1" dirty="0" err="1"/>
              <a:t>implementere</a:t>
            </a:r>
            <a:r>
              <a:rPr lang="en-US" sz="1600" b="1" dirty="0"/>
              <a:t>:</a:t>
            </a:r>
          </a:p>
          <a:p>
            <a:pPr lvl="1">
              <a:lnSpc>
                <a:spcPct val="10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 sz="1600" dirty="0"/>
              <a:t>Bring your own device</a:t>
            </a:r>
          </a:p>
          <a:p>
            <a:pPr lvl="1">
              <a:lnSpc>
                <a:spcPct val="10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 sz="1600" dirty="0" err="1"/>
              <a:t>Ventetidslektioner</a:t>
            </a:r>
            <a:endParaRPr lang="en-US" sz="1600" dirty="0"/>
          </a:p>
          <a:p>
            <a:pPr lvl="1">
              <a:lnSpc>
                <a:spcPct val="10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 sz="1600" dirty="0" err="1"/>
              <a:t>Træning</a:t>
            </a:r>
            <a:r>
              <a:rPr lang="en-US" sz="1600" dirty="0"/>
              <a:t> “on demand”</a:t>
            </a:r>
          </a:p>
          <a:p>
            <a:pPr lvl="1">
              <a:lnSpc>
                <a:spcPct val="10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 sz="1600" dirty="0"/>
              <a:t>Multiplayer </a:t>
            </a:r>
            <a:r>
              <a:rPr lang="en-US" sz="1600" dirty="0" err="1"/>
              <a:t>mhp</a:t>
            </a:r>
            <a:r>
              <a:rPr lang="en-US" sz="1600" dirty="0"/>
              <a:t> ROC drills, lessons learned</a:t>
            </a:r>
          </a:p>
          <a:p>
            <a:pPr lvl="1">
              <a:lnSpc>
                <a:spcPct val="100000"/>
              </a:lnSpc>
              <a:spcAft>
                <a:spcPts val="600"/>
              </a:spcAft>
              <a:buClr>
                <a:schemeClr val="tx1"/>
              </a:buClr>
            </a:pPr>
            <a:endParaRPr lang="en-US" sz="1600" dirty="0"/>
          </a:p>
        </p:txBody>
      </p:sp>
      <p:sp>
        <p:nvSpPr>
          <p:cNvPr id="18" name="Copy 1">
            <a:extLst>
              <a:ext uri="{FF2B5EF4-FFF2-40B4-BE49-F238E27FC236}">
                <a16:creationId xmlns:a16="http://schemas.microsoft.com/office/drawing/2014/main" id="{7BEB2F0B-4769-269B-2B7C-4BD172BA9D69}"/>
              </a:ext>
            </a:extLst>
          </p:cNvPr>
          <p:cNvSpPr txBox="1">
            <a:spLocks/>
          </p:cNvSpPr>
          <p:nvPr/>
        </p:nvSpPr>
        <p:spPr bwMode="gray">
          <a:xfrm>
            <a:off x="8258464" y="2866787"/>
            <a:ext cx="3455700" cy="113877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en-US" sz="1600" b="1" dirty="0"/>
              <a:t>Integration med </a:t>
            </a:r>
            <a:r>
              <a:rPr lang="en-US" sz="1600" b="1" dirty="0" err="1"/>
              <a:t>andre</a:t>
            </a:r>
            <a:r>
              <a:rPr lang="en-US" sz="1600" b="1" dirty="0"/>
              <a:t> </a:t>
            </a:r>
            <a:r>
              <a:rPr lang="en-US" sz="1600" b="1" dirty="0" err="1"/>
              <a:t>platforme</a:t>
            </a:r>
            <a:r>
              <a:rPr lang="en-US" sz="1600" b="1" dirty="0"/>
              <a:t>:</a:t>
            </a:r>
          </a:p>
          <a:p>
            <a:pPr lvl="1">
              <a:lnSpc>
                <a:spcPct val="10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 sz="1600" dirty="0"/>
              <a:t>Documentation </a:t>
            </a:r>
            <a:r>
              <a:rPr lang="en-US" sz="1600" dirty="0" err="1"/>
              <a:t>og</a:t>
            </a:r>
            <a:r>
              <a:rPr lang="en-US" sz="1600" dirty="0"/>
              <a:t> </a:t>
            </a:r>
            <a:r>
              <a:rPr lang="en-US" sz="1600" dirty="0" err="1"/>
              <a:t>arbejdsinstruktioner</a:t>
            </a:r>
            <a:endParaRPr lang="en-US" sz="1600" dirty="0"/>
          </a:p>
          <a:p>
            <a:pPr lvl="1">
              <a:lnSpc>
                <a:spcPct val="100000"/>
              </a:lnSpc>
              <a:spcAft>
                <a:spcPts val="600"/>
              </a:spcAft>
              <a:buClr>
                <a:schemeClr val="tx1"/>
              </a:buClr>
            </a:pPr>
            <a:r>
              <a:rPr lang="en-US" sz="1600" dirty="0" err="1"/>
              <a:t>Fjernsupport</a:t>
            </a:r>
            <a:endParaRPr lang="en-US" sz="1600" dirty="0"/>
          </a:p>
        </p:txBody>
      </p: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F6C2D68C-7DA3-087C-FBB0-AA391A8476E4}"/>
              </a:ext>
            </a:extLst>
          </p:cNvPr>
          <p:cNvCxnSpPr>
            <a:cxnSpLocks/>
          </p:cNvCxnSpPr>
          <p:nvPr/>
        </p:nvCxnSpPr>
        <p:spPr>
          <a:xfrm>
            <a:off x="8258464" y="2694836"/>
            <a:ext cx="3455700" cy="0"/>
          </a:xfrm>
          <a:prstGeom prst="line">
            <a:avLst/>
          </a:prstGeom>
          <a:ln w="19050" cap="rnd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50AE2BFF-A7DB-E66D-1D0E-3EFBA361F4DA}"/>
              </a:ext>
            </a:extLst>
          </p:cNvPr>
          <p:cNvCxnSpPr>
            <a:cxnSpLocks/>
          </p:cNvCxnSpPr>
          <p:nvPr/>
        </p:nvCxnSpPr>
        <p:spPr>
          <a:xfrm>
            <a:off x="4442764" y="2694836"/>
            <a:ext cx="3455700" cy="0"/>
          </a:xfrm>
          <a:prstGeom prst="line">
            <a:avLst/>
          </a:prstGeom>
          <a:ln w="19050" cap="rnd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878A7A38-C1FC-D534-FE84-74E35C79F371}"/>
              </a:ext>
            </a:extLst>
          </p:cNvPr>
          <p:cNvCxnSpPr>
            <a:cxnSpLocks/>
          </p:cNvCxnSpPr>
          <p:nvPr/>
        </p:nvCxnSpPr>
        <p:spPr>
          <a:xfrm>
            <a:off x="627063" y="2694836"/>
            <a:ext cx="3455700" cy="0"/>
          </a:xfrm>
          <a:prstGeom prst="line">
            <a:avLst/>
          </a:prstGeom>
          <a:ln w="19050" cap="rnd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C1D0510B-58AB-C6EF-95AC-B07BED13D8E3}"/>
              </a:ext>
            </a:extLst>
          </p:cNvPr>
          <p:cNvSpPr>
            <a:spLocks/>
          </p:cNvSpPr>
          <p:nvPr/>
        </p:nvSpPr>
        <p:spPr>
          <a:xfrm>
            <a:off x="3604260" y="1775045"/>
            <a:ext cx="478501" cy="735140"/>
          </a:xfrm>
          <a:custGeom>
            <a:avLst/>
            <a:gdLst>
              <a:gd name="connsiteX0" fmla="*/ 280950 w 573623"/>
              <a:gd name="connsiteY0" fmla="*/ 513509 h 881280"/>
              <a:gd name="connsiteX1" fmla="*/ 478948 w 573623"/>
              <a:gd name="connsiteY1" fmla="*/ 513509 h 881280"/>
              <a:gd name="connsiteX2" fmla="*/ 491187 w 573623"/>
              <a:gd name="connsiteY2" fmla="*/ 525749 h 881280"/>
              <a:gd name="connsiteX3" fmla="*/ 478948 w 573623"/>
              <a:gd name="connsiteY3" fmla="*/ 537989 h 881280"/>
              <a:gd name="connsiteX4" fmla="*/ 280950 w 573623"/>
              <a:gd name="connsiteY4" fmla="*/ 537989 h 881280"/>
              <a:gd name="connsiteX5" fmla="*/ 268711 w 573623"/>
              <a:gd name="connsiteY5" fmla="*/ 525749 h 881280"/>
              <a:gd name="connsiteX6" fmla="*/ 280950 w 573623"/>
              <a:gd name="connsiteY6" fmla="*/ 513509 h 881280"/>
              <a:gd name="connsiteX7" fmla="*/ 232375 w 573623"/>
              <a:gd name="connsiteY7" fmla="*/ 448446 h 881280"/>
              <a:gd name="connsiteX8" fmla="*/ 232403 w 573623"/>
              <a:gd name="connsiteY8" fmla="*/ 448474 h 881280"/>
              <a:gd name="connsiteX9" fmla="*/ 249700 w 573623"/>
              <a:gd name="connsiteY9" fmla="*/ 448474 h 881280"/>
              <a:gd name="connsiteX10" fmla="*/ 249700 w 573623"/>
              <a:gd name="connsiteY10" fmla="*/ 465773 h 881280"/>
              <a:gd name="connsiteX11" fmla="*/ 135308 w 573623"/>
              <a:gd name="connsiteY11" fmla="*/ 580176 h 881280"/>
              <a:gd name="connsiteX12" fmla="*/ 126659 w 573623"/>
              <a:gd name="connsiteY12" fmla="*/ 583766 h 881280"/>
              <a:gd name="connsiteX13" fmla="*/ 118010 w 573623"/>
              <a:gd name="connsiteY13" fmla="*/ 580176 h 881280"/>
              <a:gd name="connsiteX14" fmla="*/ 72237 w 573623"/>
              <a:gd name="connsiteY14" fmla="*/ 534398 h 881280"/>
              <a:gd name="connsiteX15" fmla="*/ 72237 w 573623"/>
              <a:gd name="connsiteY15" fmla="*/ 517099 h 881280"/>
              <a:gd name="connsiteX16" fmla="*/ 89534 w 573623"/>
              <a:gd name="connsiteY16" fmla="*/ 517099 h 881280"/>
              <a:gd name="connsiteX17" fmla="*/ 126632 w 573623"/>
              <a:gd name="connsiteY17" fmla="*/ 554200 h 881280"/>
              <a:gd name="connsiteX18" fmla="*/ 280950 w 573623"/>
              <a:gd name="connsiteY18" fmla="*/ 353355 h 881280"/>
              <a:gd name="connsiteX19" fmla="*/ 478948 w 573623"/>
              <a:gd name="connsiteY19" fmla="*/ 353355 h 881280"/>
              <a:gd name="connsiteX20" fmla="*/ 491187 w 573623"/>
              <a:gd name="connsiteY20" fmla="*/ 365595 h 881280"/>
              <a:gd name="connsiteX21" fmla="*/ 478948 w 573623"/>
              <a:gd name="connsiteY21" fmla="*/ 377835 h 881280"/>
              <a:gd name="connsiteX22" fmla="*/ 280950 w 573623"/>
              <a:gd name="connsiteY22" fmla="*/ 377835 h 881280"/>
              <a:gd name="connsiteX23" fmla="*/ 268711 w 573623"/>
              <a:gd name="connsiteY23" fmla="*/ 365595 h 881280"/>
              <a:gd name="connsiteX24" fmla="*/ 280950 w 573623"/>
              <a:gd name="connsiteY24" fmla="*/ 353355 h 881280"/>
              <a:gd name="connsiteX25" fmla="*/ 232375 w 573623"/>
              <a:gd name="connsiteY25" fmla="*/ 288266 h 881280"/>
              <a:gd name="connsiteX26" fmla="*/ 232403 w 573623"/>
              <a:gd name="connsiteY26" fmla="*/ 288293 h 881280"/>
              <a:gd name="connsiteX27" fmla="*/ 249700 w 573623"/>
              <a:gd name="connsiteY27" fmla="*/ 288293 h 881280"/>
              <a:gd name="connsiteX28" fmla="*/ 249700 w 573623"/>
              <a:gd name="connsiteY28" fmla="*/ 305592 h 881280"/>
              <a:gd name="connsiteX29" fmla="*/ 135308 w 573623"/>
              <a:gd name="connsiteY29" fmla="*/ 419995 h 881280"/>
              <a:gd name="connsiteX30" fmla="*/ 126659 w 573623"/>
              <a:gd name="connsiteY30" fmla="*/ 423586 h 881280"/>
              <a:gd name="connsiteX31" fmla="*/ 118010 w 573623"/>
              <a:gd name="connsiteY31" fmla="*/ 419995 h 881280"/>
              <a:gd name="connsiteX32" fmla="*/ 72237 w 573623"/>
              <a:gd name="connsiteY32" fmla="*/ 374218 h 881280"/>
              <a:gd name="connsiteX33" fmla="*/ 72237 w 573623"/>
              <a:gd name="connsiteY33" fmla="*/ 356918 h 881280"/>
              <a:gd name="connsiteX34" fmla="*/ 89534 w 573623"/>
              <a:gd name="connsiteY34" fmla="*/ 356918 h 881280"/>
              <a:gd name="connsiteX35" fmla="*/ 126632 w 573623"/>
              <a:gd name="connsiteY35" fmla="*/ 394019 h 881280"/>
              <a:gd name="connsiteX36" fmla="*/ 418787 w 573623"/>
              <a:gd name="connsiteY36" fmla="*/ 125283 h 881280"/>
              <a:gd name="connsiteX37" fmla="*/ 418787 w 573623"/>
              <a:gd name="connsiteY37" fmla="*/ 183355 h 881280"/>
              <a:gd name="connsiteX38" fmla="*/ 406548 w 573623"/>
              <a:gd name="connsiteY38" fmla="*/ 195595 h 881280"/>
              <a:gd name="connsiteX39" fmla="*/ 175560 w 573623"/>
              <a:gd name="connsiteY39" fmla="*/ 195595 h 881280"/>
              <a:gd name="connsiteX40" fmla="*/ 163321 w 573623"/>
              <a:gd name="connsiteY40" fmla="*/ 183355 h 881280"/>
              <a:gd name="connsiteX41" fmla="*/ 163321 w 573623"/>
              <a:gd name="connsiteY41" fmla="*/ 126072 h 881280"/>
              <a:gd name="connsiteX42" fmla="*/ 24478 w 573623"/>
              <a:gd name="connsiteY42" fmla="*/ 126072 h 881280"/>
              <a:gd name="connsiteX43" fmla="*/ 24478 w 573623"/>
              <a:gd name="connsiteY43" fmla="*/ 856746 h 881280"/>
              <a:gd name="connsiteX44" fmla="*/ 549118 w 573623"/>
              <a:gd name="connsiteY44" fmla="*/ 856746 h 881280"/>
              <a:gd name="connsiteX45" fmla="*/ 549118 w 573623"/>
              <a:gd name="connsiteY45" fmla="*/ 126126 h 881280"/>
              <a:gd name="connsiteX46" fmla="*/ 549118 w 573623"/>
              <a:gd name="connsiteY46" fmla="*/ 126099 h 881280"/>
              <a:gd name="connsiteX47" fmla="*/ 423057 w 573623"/>
              <a:gd name="connsiteY47" fmla="*/ 126099 h 881280"/>
              <a:gd name="connsiteX48" fmla="*/ 418787 w 573623"/>
              <a:gd name="connsiteY48" fmla="*/ 125283 h 881280"/>
              <a:gd name="connsiteX49" fmla="*/ 187799 w 573623"/>
              <a:gd name="connsiteY49" fmla="*/ 57474 h 881280"/>
              <a:gd name="connsiteX50" fmla="*/ 187799 w 573623"/>
              <a:gd name="connsiteY50" fmla="*/ 171142 h 881280"/>
              <a:gd name="connsiteX51" fmla="*/ 187826 w 573623"/>
              <a:gd name="connsiteY51" fmla="*/ 171142 h 881280"/>
              <a:gd name="connsiteX52" fmla="*/ 394337 w 573623"/>
              <a:gd name="connsiteY52" fmla="*/ 171142 h 881280"/>
              <a:gd name="connsiteX53" fmla="*/ 394337 w 573623"/>
              <a:gd name="connsiteY53" fmla="*/ 57474 h 881280"/>
              <a:gd name="connsiteX54" fmla="*/ 334584 w 573623"/>
              <a:gd name="connsiteY54" fmla="*/ 57474 h 881280"/>
              <a:gd name="connsiteX55" fmla="*/ 291068 w 573623"/>
              <a:gd name="connsiteY55" fmla="*/ 90467 h 881280"/>
              <a:gd name="connsiteX56" fmla="*/ 247552 w 573623"/>
              <a:gd name="connsiteY56" fmla="*/ 57474 h 881280"/>
              <a:gd name="connsiteX57" fmla="*/ 291068 w 573623"/>
              <a:gd name="connsiteY57" fmla="*/ 24480 h 881280"/>
              <a:gd name="connsiteX58" fmla="*/ 270316 w 573623"/>
              <a:gd name="connsiteY58" fmla="*/ 45234 h 881280"/>
              <a:gd name="connsiteX59" fmla="*/ 291068 w 573623"/>
              <a:gd name="connsiteY59" fmla="*/ 65987 h 881280"/>
              <a:gd name="connsiteX60" fmla="*/ 311819 w 573623"/>
              <a:gd name="connsiteY60" fmla="*/ 45234 h 881280"/>
              <a:gd name="connsiteX61" fmla="*/ 291068 w 573623"/>
              <a:gd name="connsiteY61" fmla="*/ 24480 h 881280"/>
              <a:gd name="connsiteX62" fmla="*/ 291068 w 573623"/>
              <a:gd name="connsiteY62" fmla="*/ 0 h 881280"/>
              <a:gd name="connsiteX63" fmla="*/ 334584 w 573623"/>
              <a:gd name="connsiteY63" fmla="*/ 32994 h 881280"/>
              <a:gd name="connsiteX64" fmla="*/ 406575 w 573623"/>
              <a:gd name="connsiteY64" fmla="*/ 32994 h 881280"/>
              <a:gd name="connsiteX65" fmla="*/ 418814 w 573623"/>
              <a:gd name="connsiteY65" fmla="*/ 45234 h 881280"/>
              <a:gd name="connsiteX66" fmla="*/ 418814 w 573623"/>
              <a:gd name="connsiteY66" fmla="*/ 102435 h 881280"/>
              <a:gd name="connsiteX67" fmla="*/ 423084 w 573623"/>
              <a:gd name="connsiteY67" fmla="*/ 101619 h 881280"/>
              <a:gd name="connsiteX68" fmla="*/ 561384 w 573623"/>
              <a:gd name="connsiteY68" fmla="*/ 101619 h 881280"/>
              <a:gd name="connsiteX69" fmla="*/ 573623 w 573623"/>
              <a:gd name="connsiteY69" fmla="*/ 113859 h 881280"/>
              <a:gd name="connsiteX70" fmla="*/ 573595 w 573623"/>
              <a:gd name="connsiteY70" fmla="*/ 113886 h 881280"/>
              <a:gd name="connsiteX71" fmla="*/ 573595 w 573623"/>
              <a:gd name="connsiteY71" fmla="*/ 869040 h 881280"/>
              <a:gd name="connsiteX72" fmla="*/ 561356 w 573623"/>
              <a:gd name="connsiteY72" fmla="*/ 881280 h 881280"/>
              <a:gd name="connsiteX73" fmla="*/ 12239 w 573623"/>
              <a:gd name="connsiteY73" fmla="*/ 881280 h 881280"/>
              <a:gd name="connsiteX74" fmla="*/ 0 w 573623"/>
              <a:gd name="connsiteY74" fmla="*/ 869040 h 881280"/>
              <a:gd name="connsiteX75" fmla="*/ 0 w 573623"/>
              <a:gd name="connsiteY75" fmla="*/ 113886 h 881280"/>
              <a:gd name="connsiteX76" fmla="*/ 12239 w 573623"/>
              <a:gd name="connsiteY76" fmla="*/ 101646 h 881280"/>
              <a:gd name="connsiteX77" fmla="*/ 163321 w 573623"/>
              <a:gd name="connsiteY77" fmla="*/ 101646 h 881280"/>
              <a:gd name="connsiteX78" fmla="*/ 163321 w 573623"/>
              <a:gd name="connsiteY78" fmla="*/ 45234 h 881280"/>
              <a:gd name="connsiteX79" fmla="*/ 175560 w 573623"/>
              <a:gd name="connsiteY79" fmla="*/ 32994 h 881280"/>
              <a:gd name="connsiteX80" fmla="*/ 247552 w 573623"/>
              <a:gd name="connsiteY80" fmla="*/ 32994 h 881280"/>
              <a:gd name="connsiteX81" fmla="*/ 291068 w 573623"/>
              <a:gd name="connsiteY81" fmla="*/ 0 h 881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</a:cxnLst>
            <a:rect l="l" t="t" r="r" b="b"/>
            <a:pathLst>
              <a:path w="573623" h="881280">
                <a:moveTo>
                  <a:pt x="280950" y="513509"/>
                </a:moveTo>
                <a:lnTo>
                  <a:pt x="478948" y="513509"/>
                </a:lnTo>
                <a:cubicBezTo>
                  <a:pt x="485720" y="513509"/>
                  <a:pt x="491187" y="518976"/>
                  <a:pt x="491187" y="525749"/>
                </a:cubicBezTo>
                <a:cubicBezTo>
                  <a:pt x="491187" y="532522"/>
                  <a:pt x="485720" y="537989"/>
                  <a:pt x="478948" y="537989"/>
                </a:cubicBezTo>
                <a:lnTo>
                  <a:pt x="280950" y="537989"/>
                </a:lnTo>
                <a:cubicBezTo>
                  <a:pt x="274178" y="537989"/>
                  <a:pt x="268711" y="532522"/>
                  <a:pt x="268711" y="525749"/>
                </a:cubicBezTo>
                <a:cubicBezTo>
                  <a:pt x="268711" y="518976"/>
                  <a:pt x="274178" y="513509"/>
                  <a:pt x="280950" y="513509"/>
                </a:cubicBezTo>
                <a:close/>
                <a:moveTo>
                  <a:pt x="232375" y="448446"/>
                </a:moveTo>
                <a:lnTo>
                  <a:pt x="232403" y="448474"/>
                </a:lnTo>
                <a:cubicBezTo>
                  <a:pt x="237162" y="443686"/>
                  <a:pt x="244914" y="443686"/>
                  <a:pt x="249700" y="448474"/>
                </a:cubicBezTo>
                <a:cubicBezTo>
                  <a:pt x="254487" y="453234"/>
                  <a:pt x="254487" y="460986"/>
                  <a:pt x="249700" y="465773"/>
                </a:cubicBezTo>
                <a:lnTo>
                  <a:pt x="135308" y="580176"/>
                </a:lnTo>
                <a:cubicBezTo>
                  <a:pt x="133023" y="582488"/>
                  <a:pt x="129895" y="583766"/>
                  <a:pt x="126659" y="583766"/>
                </a:cubicBezTo>
                <a:cubicBezTo>
                  <a:pt x="123422" y="583766"/>
                  <a:pt x="120295" y="582461"/>
                  <a:pt x="118010" y="580176"/>
                </a:cubicBezTo>
                <a:lnTo>
                  <a:pt x="72237" y="534398"/>
                </a:lnTo>
                <a:cubicBezTo>
                  <a:pt x="67450" y="529638"/>
                  <a:pt x="67450" y="521886"/>
                  <a:pt x="72237" y="517099"/>
                </a:cubicBezTo>
                <a:cubicBezTo>
                  <a:pt x="76996" y="512312"/>
                  <a:pt x="84747" y="512312"/>
                  <a:pt x="89534" y="517099"/>
                </a:cubicBezTo>
                <a:lnTo>
                  <a:pt x="126632" y="554200"/>
                </a:lnTo>
                <a:close/>
                <a:moveTo>
                  <a:pt x="280950" y="353355"/>
                </a:moveTo>
                <a:lnTo>
                  <a:pt x="478948" y="353355"/>
                </a:lnTo>
                <a:cubicBezTo>
                  <a:pt x="485720" y="353355"/>
                  <a:pt x="491187" y="358822"/>
                  <a:pt x="491187" y="365595"/>
                </a:cubicBezTo>
                <a:cubicBezTo>
                  <a:pt x="491187" y="372368"/>
                  <a:pt x="485720" y="377835"/>
                  <a:pt x="478948" y="377835"/>
                </a:cubicBezTo>
                <a:lnTo>
                  <a:pt x="280950" y="377835"/>
                </a:lnTo>
                <a:cubicBezTo>
                  <a:pt x="274178" y="377835"/>
                  <a:pt x="268711" y="372368"/>
                  <a:pt x="268711" y="365595"/>
                </a:cubicBezTo>
                <a:cubicBezTo>
                  <a:pt x="268711" y="358822"/>
                  <a:pt x="274178" y="353355"/>
                  <a:pt x="280950" y="353355"/>
                </a:cubicBezTo>
                <a:close/>
                <a:moveTo>
                  <a:pt x="232375" y="288266"/>
                </a:moveTo>
                <a:lnTo>
                  <a:pt x="232403" y="288293"/>
                </a:lnTo>
                <a:cubicBezTo>
                  <a:pt x="237162" y="283506"/>
                  <a:pt x="244914" y="283506"/>
                  <a:pt x="249700" y="288293"/>
                </a:cubicBezTo>
                <a:cubicBezTo>
                  <a:pt x="254487" y="293053"/>
                  <a:pt x="254487" y="300805"/>
                  <a:pt x="249700" y="305592"/>
                </a:cubicBezTo>
                <a:lnTo>
                  <a:pt x="135308" y="419995"/>
                </a:lnTo>
                <a:cubicBezTo>
                  <a:pt x="133023" y="422307"/>
                  <a:pt x="129895" y="423586"/>
                  <a:pt x="126659" y="423586"/>
                </a:cubicBezTo>
                <a:cubicBezTo>
                  <a:pt x="123422" y="423586"/>
                  <a:pt x="120295" y="422280"/>
                  <a:pt x="118010" y="419995"/>
                </a:cubicBezTo>
                <a:lnTo>
                  <a:pt x="72237" y="374218"/>
                </a:lnTo>
                <a:cubicBezTo>
                  <a:pt x="67450" y="369458"/>
                  <a:pt x="67450" y="361706"/>
                  <a:pt x="72237" y="356918"/>
                </a:cubicBezTo>
                <a:cubicBezTo>
                  <a:pt x="76996" y="352131"/>
                  <a:pt x="84747" y="352131"/>
                  <a:pt x="89534" y="356918"/>
                </a:cubicBezTo>
                <a:lnTo>
                  <a:pt x="126632" y="394019"/>
                </a:lnTo>
                <a:close/>
                <a:moveTo>
                  <a:pt x="418787" y="125283"/>
                </a:moveTo>
                <a:lnTo>
                  <a:pt x="418787" y="183355"/>
                </a:lnTo>
                <a:cubicBezTo>
                  <a:pt x="418787" y="190128"/>
                  <a:pt x="413320" y="195595"/>
                  <a:pt x="406548" y="195595"/>
                </a:cubicBezTo>
                <a:lnTo>
                  <a:pt x="175560" y="195595"/>
                </a:lnTo>
                <a:cubicBezTo>
                  <a:pt x="168788" y="195595"/>
                  <a:pt x="163321" y="190128"/>
                  <a:pt x="163321" y="183355"/>
                </a:cubicBezTo>
                <a:lnTo>
                  <a:pt x="163321" y="126072"/>
                </a:lnTo>
                <a:lnTo>
                  <a:pt x="24478" y="126072"/>
                </a:lnTo>
                <a:lnTo>
                  <a:pt x="24478" y="856746"/>
                </a:lnTo>
                <a:lnTo>
                  <a:pt x="549118" y="856746"/>
                </a:lnTo>
                <a:lnTo>
                  <a:pt x="549118" y="126126"/>
                </a:lnTo>
                <a:lnTo>
                  <a:pt x="549118" y="126099"/>
                </a:lnTo>
                <a:lnTo>
                  <a:pt x="423057" y="126099"/>
                </a:lnTo>
                <a:cubicBezTo>
                  <a:pt x="421561" y="126099"/>
                  <a:pt x="420120" y="125800"/>
                  <a:pt x="418787" y="125283"/>
                </a:cubicBezTo>
                <a:close/>
                <a:moveTo>
                  <a:pt x="187799" y="57474"/>
                </a:moveTo>
                <a:lnTo>
                  <a:pt x="187799" y="171142"/>
                </a:lnTo>
                <a:lnTo>
                  <a:pt x="187826" y="171142"/>
                </a:lnTo>
                <a:lnTo>
                  <a:pt x="394337" y="171142"/>
                </a:lnTo>
                <a:lnTo>
                  <a:pt x="394337" y="57474"/>
                </a:lnTo>
                <a:lnTo>
                  <a:pt x="334584" y="57474"/>
                </a:lnTo>
                <a:cubicBezTo>
                  <a:pt x="329226" y="76486"/>
                  <a:pt x="311765" y="90467"/>
                  <a:pt x="291068" y="90467"/>
                </a:cubicBezTo>
                <a:cubicBezTo>
                  <a:pt x="270370" y="90467"/>
                  <a:pt x="252910" y="76486"/>
                  <a:pt x="247552" y="57474"/>
                </a:cubicBezTo>
                <a:close/>
                <a:moveTo>
                  <a:pt x="291068" y="24480"/>
                </a:moveTo>
                <a:cubicBezTo>
                  <a:pt x="279618" y="24480"/>
                  <a:pt x="270316" y="33782"/>
                  <a:pt x="270316" y="45234"/>
                </a:cubicBezTo>
                <a:cubicBezTo>
                  <a:pt x="270316" y="56685"/>
                  <a:pt x="279618" y="65987"/>
                  <a:pt x="291068" y="65987"/>
                </a:cubicBezTo>
                <a:cubicBezTo>
                  <a:pt x="302518" y="65987"/>
                  <a:pt x="311819" y="56685"/>
                  <a:pt x="311819" y="45234"/>
                </a:cubicBezTo>
                <a:cubicBezTo>
                  <a:pt x="311819" y="33782"/>
                  <a:pt x="302518" y="24480"/>
                  <a:pt x="291068" y="24480"/>
                </a:cubicBezTo>
                <a:close/>
                <a:moveTo>
                  <a:pt x="291068" y="0"/>
                </a:moveTo>
                <a:cubicBezTo>
                  <a:pt x="311765" y="0"/>
                  <a:pt x="329226" y="13981"/>
                  <a:pt x="334584" y="32994"/>
                </a:cubicBezTo>
                <a:lnTo>
                  <a:pt x="406575" y="32994"/>
                </a:lnTo>
                <a:cubicBezTo>
                  <a:pt x="413348" y="32994"/>
                  <a:pt x="418814" y="38461"/>
                  <a:pt x="418814" y="45234"/>
                </a:cubicBezTo>
                <a:lnTo>
                  <a:pt x="418814" y="102435"/>
                </a:lnTo>
                <a:cubicBezTo>
                  <a:pt x="420147" y="101946"/>
                  <a:pt x="421561" y="101619"/>
                  <a:pt x="423084" y="101619"/>
                </a:cubicBezTo>
                <a:lnTo>
                  <a:pt x="561384" y="101619"/>
                </a:lnTo>
                <a:cubicBezTo>
                  <a:pt x="568156" y="101619"/>
                  <a:pt x="573623" y="107086"/>
                  <a:pt x="573623" y="113859"/>
                </a:cubicBezTo>
                <a:lnTo>
                  <a:pt x="573595" y="113886"/>
                </a:lnTo>
                <a:lnTo>
                  <a:pt x="573595" y="869040"/>
                </a:lnTo>
                <a:cubicBezTo>
                  <a:pt x="573595" y="875813"/>
                  <a:pt x="568129" y="881280"/>
                  <a:pt x="561356" y="881280"/>
                </a:cubicBezTo>
                <a:lnTo>
                  <a:pt x="12239" y="881280"/>
                </a:lnTo>
                <a:cubicBezTo>
                  <a:pt x="5467" y="881280"/>
                  <a:pt x="0" y="875813"/>
                  <a:pt x="0" y="869040"/>
                </a:cubicBezTo>
                <a:lnTo>
                  <a:pt x="0" y="113886"/>
                </a:lnTo>
                <a:cubicBezTo>
                  <a:pt x="0" y="107114"/>
                  <a:pt x="5467" y="101646"/>
                  <a:pt x="12239" y="101646"/>
                </a:cubicBezTo>
                <a:lnTo>
                  <a:pt x="163321" y="101646"/>
                </a:lnTo>
                <a:lnTo>
                  <a:pt x="163321" y="45234"/>
                </a:lnTo>
                <a:cubicBezTo>
                  <a:pt x="163321" y="38461"/>
                  <a:pt x="168788" y="32994"/>
                  <a:pt x="175560" y="32994"/>
                </a:cubicBezTo>
                <a:lnTo>
                  <a:pt x="247552" y="32994"/>
                </a:lnTo>
                <a:cubicBezTo>
                  <a:pt x="252910" y="13981"/>
                  <a:pt x="270370" y="0"/>
                  <a:pt x="291068" y="0"/>
                </a:cubicBezTo>
                <a:close/>
              </a:path>
            </a:pathLst>
          </a:custGeom>
          <a:solidFill>
            <a:schemeClr val="tx1"/>
          </a:solidFill>
          <a:ln w="269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  <p:pic>
        <p:nvPicPr>
          <p:cNvPr id="26" name="Grafik 25">
            <a:extLst>
              <a:ext uri="{FF2B5EF4-FFF2-40B4-BE49-F238E27FC236}">
                <a16:creationId xmlns:a16="http://schemas.microsoft.com/office/drawing/2014/main" id="{D96638FE-8A57-9F61-9A09-D64B06C69B1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24180" y="1939640"/>
            <a:ext cx="789984" cy="570544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1F7B5F36-FBAB-E674-025D-A45EDAA2599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147560" y="1830990"/>
            <a:ext cx="764398" cy="6791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55266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4" grpId="0"/>
      <p:bldP spid="15" grpId="0"/>
      <p:bldP spid="17" grpId="0"/>
      <p:bldP spid="16" grpId="0"/>
      <p:bldP spid="18" grpId="0"/>
      <p:bldP spid="25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D07FA8C-5C80-70B6-1294-A9D1850507E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D07FA8C-5C80-70B6-1294-A9D1850507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89E23F2-3FD0-2FF1-D6B1-707861013C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Agenda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5C4BF6B-E90B-F12E-247C-C8E9DADFB8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Siemens Gamesa Renewable Energy, 2025 | Sami El-Daoud</a:t>
            </a:r>
            <a:endParaRPr lang="en-GB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718048DB-81A1-1FD8-BD2D-0D5F69E68A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D1E00E-1E4E-4C8B-96B1-5A423A77B51C}" type="datetime1">
              <a:rPr lang="en-US" smtClean="0"/>
              <a:t>2/6/2025</a:t>
            </a:fld>
            <a:endParaRPr lang="en-US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AC46B636-73F3-D369-F489-A853262C57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B0116A-0D09-4E99-8C69-B4C15A5D8A2B}" type="slidenum">
              <a:rPr lang="en-US" smtClean="0"/>
              <a:pPr/>
              <a:t>13</a:t>
            </a:fld>
            <a:endParaRPr lang="en-US"/>
          </a:p>
        </p:txBody>
      </p:sp>
      <p:cxnSp>
        <p:nvCxnSpPr>
          <p:cNvPr id="10" name="Time line">
            <a:extLst>
              <a:ext uri="{FF2B5EF4-FFF2-40B4-BE49-F238E27FC236}">
                <a16:creationId xmlns:a16="http://schemas.microsoft.com/office/drawing/2014/main" id="{7E1F234D-09FC-6A3D-1ADB-54AD26135AD6}"/>
              </a:ext>
            </a:extLst>
          </p:cNvPr>
          <p:cNvCxnSpPr>
            <a:cxnSpLocks/>
          </p:cNvCxnSpPr>
          <p:nvPr/>
        </p:nvCxnSpPr>
        <p:spPr>
          <a:xfrm>
            <a:off x="1" y="3102686"/>
            <a:ext cx="9544049" cy="0"/>
          </a:xfrm>
          <a:prstGeom prst="line">
            <a:avLst/>
          </a:prstGeom>
          <a:ln w="38100">
            <a:solidFill>
              <a:srgbClr val="5A467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Copy 1">
            <a:extLst>
              <a:ext uri="{FF2B5EF4-FFF2-40B4-BE49-F238E27FC236}">
                <a16:creationId xmlns:a16="http://schemas.microsoft.com/office/drawing/2014/main" id="{B35B4E8E-A46E-B15A-6F8E-8427CA62D85D}"/>
              </a:ext>
            </a:extLst>
          </p:cNvPr>
          <p:cNvSpPr txBox="1">
            <a:spLocks/>
          </p:cNvSpPr>
          <p:nvPr/>
        </p:nvSpPr>
        <p:spPr>
          <a:xfrm>
            <a:off x="1391954" y="4239082"/>
            <a:ext cx="1537541" cy="79149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300"/>
              </a:spcAft>
            </a:pPr>
            <a:r>
              <a:rPr lang="en-US" b="1" dirty="0"/>
              <a:t>VR deep dive</a:t>
            </a:r>
          </a:p>
          <a:p>
            <a:r>
              <a:rPr lang="en-US" sz="1400" dirty="0" err="1"/>
              <a:t>Anvendelse</a:t>
            </a:r>
            <a:r>
              <a:rPr lang="en-US" sz="1400" dirty="0"/>
              <a:t> </a:t>
            </a:r>
            <a:r>
              <a:rPr lang="en-US" sz="1400" dirty="0" err="1"/>
              <a:t>af</a:t>
            </a:r>
            <a:r>
              <a:rPr lang="en-US" sz="1400" dirty="0"/>
              <a:t> VR </a:t>
            </a:r>
            <a:r>
              <a:rPr lang="en-US" sz="1400" dirty="0" err="1"/>
              <a:t>i</a:t>
            </a:r>
            <a:r>
              <a:rPr lang="en-US" sz="1400" dirty="0"/>
              <a:t> SGRE</a:t>
            </a:r>
          </a:p>
          <a:p>
            <a:endParaRPr lang="en-US" sz="1400" dirty="0"/>
          </a:p>
        </p:txBody>
      </p:sp>
      <p:sp>
        <p:nvSpPr>
          <p:cNvPr id="39" name="Copy 1">
            <a:extLst>
              <a:ext uri="{FF2B5EF4-FFF2-40B4-BE49-F238E27FC236}">
                <a16:creationId xmlns:a16="http://schemas.microsoft.com/office/drawing/2014/main" id="{132338B9-ED10-05A6-0160-17F3E5F3CB80}"/>
              </a:ext>
            </a:extLst>
          </p:cNvPr>
          <p:cNvSpPr txBox="1">
            <a:spLocks/>
          </p:cNvSpPr>
          <p:nvPr/>
        </p:nvSpPr>
        <p:spPr>
          <a:xfrm>
            <a:off x="4034393" y="4239082"/>
            <a:ext cx="1761626" cy="79149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300"/>
              </a:spcAft>
            </a:pPr>
            <a:r>
              <a:rPr lang="en-US" b="1" dirty="0"/>
              <a:t>Goggles on!</a:t>
            </a:r>
          </a:p>
          <a:p>
            <a:r>
              <a:rPr lang="en-US" sz="1400" dirty="0"/>
              <a:t>Show, don’t tell</a:t>
            </a:r>
          </a:p>
          <a:p>
            <a:endParaRPr lang="en-US" sz="1200" dirty="0"/>
          </a:p>
        </p:txBody>
      </p:sp>
      <p:sp>
        <p:nvSpPr>
          <p:cNvPr id="40" name="Copy 1">
            <a:extLst>
              <a:ext uri="{FF2B5EF4-FFF2-40B4-BE49-F238E27FC236}">
                <a16:creationId xmlns:a16="http://schemas.microsoft.com/office/drawing/2014/main" id="{5A5BEA9F-506D-7596-7CBA-0B8F93D1B97F}"/>
              </a:ext>
            </a:extLst>
          </p:cNvPr>
          <p:cNvSpPr txBox="1">
            <a:spLocks/>
          </p:cNvSpPr>
          <p:nvPr/>
        </p:nvSpPr>
        <p:spPr>
          <a:xfrm>
            <a:off x="6676833" y="4239082"/>
            <a:ext cx="1761625" cy="79149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300"/>
              </a:spcAft>
            </a:pPr>
            <a:r>
              <a:rPr lang="en-US" b="1" dirty="0"/>
              <a:t>Se </a:t>
            </a:r>
            <a:r>
              <a:rPr lang="en-US" b="1" dirty="0" err="1"/>
              <a:t>fremad</a:t>
            </a:r>
            <a:endParaRPr lang="en-US" b="1" dirty="0"/>
          </a:p>
          <a:p>
            <a:r>
              <a:rPr lang="en-US" sz="1400" dirty="0" err="1"/>
              <a:t>Udnyt</a:t>
            </a:r>
            <a:r>
              <a:rPr lang="en-US" sz="1400" dirty="0"/>
              <a:t> </a:t>
            </a:r>
            <a:r>
              <a:rPr lang="en-US" sz="1400" dirty="0" err="1"/>
              <a:t>potentialet</a:t>
            </a:r>
            <a:endParaRPr lang="en-US" sz="1200" dirty="0"/>
          </a:p>
        </p:txBody>
      </p:sp>
      <p:sp>
        <p:nvSpPr>
          <p:cNvPr id="17" name="Bullet 2">
            <a:extLst>
              <a:ext uri="{FF2B5EF4-FFF2-40B4-BE49-F238E27FC236}">
                <a16:creationId xmlns:a16="http://schemas.microsoft.com/office/drawing/2014/main" id="{F2A1CFED-73B4-C1C1-9AA3-78824B2C0064}"/>
              </a:ext>
            </a:extLst>
          </p:cNvPr>
          <p:cNvSpPr>
            <a:spLocks noChangeAspect="1"/>
          </p:cNvSpPr>
          <p:nvPr/>
        </p:nvSpPr>
        <p:spPr>
          <a:xfrm>
            <a:off x="3872163" y="2221873"/>
            <a:ext cx="1761626" cy="1761626"/>
          </a:xfrm>
          <a:prstGeom prst="ellipse">
            <a:avLst/>
          </a:prstGeom>
          <a:solidFill>
            <a:schemeClr val="accent3"/>
          </a:solidFill>
          <a:ln w="7620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8000" b="1" dirty="0">
                <a:solidFill>
                  <a:schemeClr val="accent1"/>
                </a:solidFill>
                <a:cs typeface="Times New Roman" panose="02020603050405020304" pitchFamily="18" charset="0"/>
              </a:rPr>
              <a:t>2</a:t>
            </a:r>
          </a:p>
        </p:txBody>
      </p:sp>
      <p:sp>
        <p:nvSpPr>
          <p:cNvPr id="33" name="Bullet 2">
            <a:extLst>
              <a:ext uri="{FF2B5EF4-FFF2-40B4-BE49-F238E27FC236}">
                <a16:creationId xmlns:a16="http://schemas.microsoft.com/office/drawing/2014/main" id="{5FBBC3A6-4DCB-D7DF-FC2D-468B18FD8EF7}"/>
              </a:ext>
            </a:extLst>
          </p:cNvPr>
          <p:cNvSpPr>
            <a:spLocks noChangeAspect="1"/>
          </p:cNvSpPr>
          <p:nvPr/>
        </p:nvSpPr>
        <p:spPr>
          <a:xfrm>
            <a:off x="6558213" y="2221873"/>
            <a:ext cx="1761626" cy="1761626"/>
          </a:xfrm>
          <a:prstGeom prst="ellipse">
            <a:avLst/>
          </a:prstGeom>
          <a:solidFill>
            <a:schemeClr val="accent3"/>
          </a:solidFill>
          <a:ln w="7620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8000" b="1" dirty="0">
                <a:solidFill>
                  <a:schemeClr val="accent1"/>
                </a:solidFill>
                <a:cs typeface="Times New Roman" panose="02020603050405020304" pitchFamily="18" charset="0"/>
              </a:rPr>
              <a:t>3</a:t>
            </a:r>
          </a:p>
        </p:txBody>
      </p:sp>
      <p:sp>
        <p:nvSpPr>
          <p:cNvPr id="37" name="Bullet 2">
            <a:extLst>
              <a:ext uri="{FF2B5EF4-FFF2-40B4-BE49-F238E27FC236}">
                <a16:creationId xmlns:a16="http://schemas.microsoft.com/office/drawing/2014/main" id="{045E4312-D46A-1DCF-B5CD-F11266BCF6A2}"/>
              </a:ext>
            </a:extLst>
          </p:cNvPr>
          <p:cNvSpPr>
            <a:spLocks noChangeAspect="1"/>
          </p:cNvSpPr>
          <p:nvPr/>
        </p:nvSpPr>
        <p:spPr>
          <a:xfrm>
            <a:off x="1167869" y="2221873"/>
            <a:ext cx="1761626" cy="1761626"/>
          </a:xfrm>
          <a:prstGeom prst="ellipse">
            <a:avLst/>
          </a:prstGeom>
          <a:solidFill>
            <a:schemeClr val="accent3"/>
          </a:solidFill>
          <a:ln w="7620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8000" b="1" dirty="0">
                <a:solidFill>
                  <a:schemeClr val="accent1"/>
                </a:solidFill>
                <a:cs typeface="Times New Roman" panose="02020603050405020304" pitchFamily="18" charset="0"/>
              </a:rPr>
              <a:t>1</a:t>
            </a:r>
          </a:p>
        </p:txBody>
      </p:sp>
      <p:sp>
        <p:nvSpPr>
          <p:cNvPr id="9" name="Copy 1">
            <a:extLst>
              <a:ext uri="{FF2B5EF4-FFF2-40B4-BE49-F238E27FC236}">
                <a16:creationId xmlns:a16="http://schemas.microsoft.com/office/drawing/2014/main" id="{D870E92B-457C-8119-661F-9B9A9F4940C5}"/>
              </a:ext>
            </a:extLst>
          </p:cNvPr>
          <p:cNvSpPr txBox="1">
            <a:spLocks/>
          </p:cNvSpPr>
          <p:nvPr/>
        </p:nvSpPr>
        <p:spPr>
          <a:xfrm>
            <a:off x="9319272" y="4239082"/>
            <a:ext cx="2129778" cy="79149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300"/>
              </a:spcAft>
            </a:pPr>
            <a:r>
              <a:rPr lang="en-US" b="1" dirty="0" err="1"/>
              <a:t>Anvendelse</a:t>
            </a:r>
            <a:r>
              <a:rPr lang="en-US" b="1" dirty="0"/>
              <a:t> </a:t>
            </a:r>
            <a:r>
              <a:rPr lang="en-US" b="1" dirty="0" err="1"/>
              <a:t>i</a:t>
            </a:r>
            <a:r>
              <a:rPr lang="en-US" b="1" dirty="0"/>
              <a:t> FSV</a:t>
            </a:r>
          </a:p>
          <a:p>
            <a:r>
              <a:rPr lang="en-US" sz="1400" dirty="0" err="1"/>
              <a:t>Hvad</a:t>
            </a:r>
            <a:r>
              <a:rPr lang="en-US" sz="1400" dirty="0"/>
              <a:t> </a:t>
            </a:r>
            <a:r>
              <a:rPr lang="en-US" sz="1400" dirty="0" err="1"/>
              <a:t>tænker</a:t>
            </a:r>
            <a:r>
              <a:rPr lang="en-US" sz="1400" dirty="0"/>
              <a:t> I?</a:t>
            </a:r>
          </a:p>
          <a:p>
            <a:r>
              <a:rPr lang="en-US" sz="1400" dirty="0"/>
              <a:t>Q&amp;A</a:t>
            </a:r>
          </a:p>
          <a:p>
            <a:endParaRPr lang="en-US" sz="1400" dirty="0"/>
          </a:p>
        </p:txBody>
      </p:sp>
      <p:sp>
        <p:nvSpPr>
          <p:cNvPr id="11" name="Bullet 2">
            <a:extLst>
              <a:ext uri="{FF2B5EF4-FFF2-40B4-BE49-F238E27FC236}">
                <a16:creationId xmlns:a16="http://schemas.microsoft.com/office/drawing/2014/main" id="{282B9DD0-9EA8-ECC1-2749-54FD87FC67B6}"/>
              </a:ext>
            </a:extLst>
          </p:cNvPr>
          <p:cNvSpPr>
            <a:spLocks noChangeAspect="1"/>
          </p:cNvSpPr>
          <p:nvPr/>
        </p:nvSpPr>
        <p:spPr>
          <a:xfrm>
            <a:off x="9244263" y="2185822"/>
            <a:ext cx="1761626" cy="1761626"/>
          </a:xfrm>
          <a:prstGeom prst="ellipse">
            <a:avLst/>
          </a:prstGeom>
          <a:solidFill>
            <a:schemeClr val="accent3"/>
          </a:solidFill>
          <a:ln w="7620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8000" b="1" dirty="0">
                <a:solidFill>
                  <a:schemeClr val="accent1"/>
                </a:solidFill>
                <a:cs typeface="Times New Roman" panose="02020603050405020304" pitchFamily="18" charset="0"/>
              </a:rPr>
              <a:t>4</a:t>
            </a:r>
          </a:p>
        </p:txBody>
      </p:sp>
      <p:sp>
        <p:nvSpPr>
          <p:cNvPr id="4" name="Rechteck 4">
            <a:extLst>
              <a:ext uri="{FF2B5EF4-FFF2-40B4-BE49-F238E27FC236}">
                <a16:creationId xmlns:a16="http://schemas.microsoft.com/office/drawing/2014/main" id="{9ED11C44-8DAB-3CD1-D34B-338F5734F3D6}"/>
              </a:ext>
            </a:extLst>
          </p:cNvPr>
          <p:cNvSpPr>
            <a:spLocks/>
          </p:cNvSpPr>
          <p:nvPr/>
        </p:nvSpPr>
        <p:spPr>
          <a:xfrm>
            <a:off x="1167866" y="1603573"/>
            <a:ext cx="7595133" cy="4175118"/>
          </a:xfrm>
          <a:prstGeom prst="rect">
            <a:avLst/>
          </a:prstGeom>
          <a:solidFill>
            <a:schemeClr val="accent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t"/>
          <a:lstStyle/>
          <a:p>
            <a:pPr algn="l"/>
            <a:endParaRPr lang="en-US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964660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3DC667-C3ED-D8E5-00A4-ED200E6AA6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9CEF333-5C40-0253-49E6-85B433948A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Siemens Gamesa Renewable Energy, 2025 | Sami El-Daoud</a:t>
            </a:r>
            <a:endParaRPr lang="en-GB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A803FE3-C5E6-066C-80FD-8E53C4A40374}"/>
              </a:ext>
            </a:extLst>
          </p:cNvPr>
          <p:cNvSpPr txBox="1"/>
          <p:nvPr/>
        </p:nvSpPr>
        <p:spPr>
          <a:xfrm>
            <a:off x="3649714" y="2984937"/>
            <a:ext cx="7189077" cy="316098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3200" dirty="0" err="1"/>
              <a:t>Hvordan</a:t>
            </a:r>
            <a:r>
              <a:rPr lang="en-US" sz="3200" dirty="0"/>
              <a:t> </a:t>
            </a:r>
            <a:r>
              <a:rPr lang="en-US" sz="3200" dirty="0" err="1"/>
              <a:t>kan</a:t>
            </a:r>
            <a:r>
              <a:rPr lang="en-US" sz="3200" dirty="0"/>
              <a:t> </a:t>
            </a:r>
            <a:r>
              <a:rPr lang="en-US" sz="3200" dirty="0" err="1"/>
              <a:t>brugen</a:t>
            </a:r>
            <a:r>
              <a:rPr lang="en-US" sz="3200" dirty="0"/>
              <a:t> </a:t>
            </a:r>
            <a:r>
              <a:rPr lang="en-US" sz="3200" dirty="0" err="1"/>
              <a:t>af</a:t>
            </a:r>
            <a:r>
              <a:rPr lang="en-US" sz="3200" dirty="0"/>
              <a:t> VR </a:t>
            </a:r>
            <a:r>
              <a:rPr lang="en-US" sz="3200" dirty="0" err="1"/>
              <a:t>og</a:t>
            </a:r>
            <a:r>
              <a:rPr lang="en-US" sz="3200" dirty="0"/>
              <a:t> digital </a:t>
            </a:r>
            <a:r>
              <a:rPr lang="en-US" sz="3200" dirty="0" err="1"/>
              <a:t>læring</a:t>
            </a:r>
            <a:r>
              <a:rPr lang="en-US" sz="3200" dirty="0"/>
              <a:t> </a:t>
            </a:r>
            <a:r>
              <a:rPr lang="en-US" sz="3200" dirty="0" err="1"/>
              <a:t>afhjælpe</a:t>
            </a:r>
            <a:r>
              <a:rPr lang="en-US" sz="3200" dirty="0"/>
              <a:t> </a:t>
            </a:r>
            <a:r>
              <a:rPr lang="en-US" sz="3200" dirty="0" err="1"/>
              <a:t>nogle</a:t>
            </a:r>
            <a:r>
              <a:rPr lang="en-US" sz="3200" dirty="0"/>
              <a:t> </a:t>
            </a:r>
            <a:r>
              <a:rPr lang="en-US" sz="3200" dirty="0" err="1"/>
              <a:t>af</a:t>
            </a:r>
            <a:r>
              <a:rPr lang="en-US" sz="3200" dirty="0"/>
              <a:t> de </a:t>
            </a:r>
            <a:r>
              <a:rPr lang="en-US" sz="3200" dirty="0" err="1">
                <a:solidFill>
                  <a:srgbClr val="00B0AD"/>
                </a:solidFill>
              </a:rPr>
              <a:t>udfordringer</a:t>
            </a:r>
            <a:r>
              <a:rPr lang="en-US" sz="3200" dirty="0"/>
              <a:t> FSV </a:t>
            </a:r>
            <a:r>
              <a:rPr lang="en-US" sz="3200" dirty="0" err="1"/>
              <a:t>står</a:t>
            </a:r>
            <a:r>
              <a:rPr lang="en-US" sz="3200" dirty="0"/>
              <a:t> med </a:t>
            </a:r>
            <a:r>
              <a:rPr lang="en-US" sz="3200" dirty="0" err="1"/>
              <a:t>dag</a:t>
            </a:r>
            <a:r>
              <a:rPr lang="en-US" sz="3200" dirty="0"/>
              <a:t>?</a:t>
            </a:r>
          </a:p>
        </p:txBody>
      </p:sp>
      <p:pic>
        <p:nvPicPr>
          <p:cNvPr id="6" name="Graphic 5" descr="Question Mark with solid fill">
            <a:extLst>
              <a:ext uri="{FF2B5EF4-FFF2-40B4-BE49-F238E27FC236}">
                <a16:creationId xmlns:a16="http://schemas.microsoft.com/office/drawing/2014/main" id="{B7621E60-307A-4899-E9C2-EAE40B5939A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203431" y="2417378"/>
            <a:ext cx="2446283" cy="2446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54129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6CC73AB5-0A3D-C7C5-6F53-D006789DE57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36712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C73AB5-0A3D-C7C5-6F53-D006789DE5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C3487AB-A92C-18C2-A499-78C7176B0D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0"/>
            <a:ext cx="9659938" cy="3064017"/>
          </a:xfrm>
        </p:spPr>
        <p:txBody>
          <a:bodyPr vert="horz"/>
          <a:lstStyle/>
          <a:p>
            <a:r>
              <a:rPr lang="en-US" sz="6600" dirty="0"/>
              <a:t>Q&amp;A?</a:t>
            </a:r>
            <a:endParaRPr lang="en-US" sz="6600" b="0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F3F9097-5A2F-93A9-5CCC-55508E5CEF0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526800"/>
            <a:ext cx="1692000" cy="331200"/>
          </a:xfrm>
        </p:spPr>
        <p:txBody>
          <a:bodyPr/>
          <a:lstStyle/>
          <a:p>
            <a:fld id="{03F62993-6E03-4F32-95A8-3B4A4591340B}" type="datetime1">
              <a:rPr lang="en-US" smtClean="0"/>
              <a:t>2/6/2025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5BF63BE-1F71-D84E-80B9-CFF89D7F35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42400" y="6526800"/>
            <a:ext cx="5950800" cy="331200"/>
          </a:xfrm>
        </p:spPr>
        <p:txBody>
          <a:bodyPr/>
          <a:lstStyle/>
          <a:p>
            <a:r>
              <a:rPr lang="en-US" dirty="0"/>
              <a:t>© Siemens Gamesa Renewable Energy, 2025 | Sami El-Daoud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EC0206B-719E-A7FE-8714-7663A9E7CD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64000" y="6526800"/>
            <a:ext cx="828000" cy="331200"/>
          </a:xfrm>
        </p:spPr>
        <p:txBody>
          <a:bodyPr/>
          <a:lstStyle/>
          <a:p>
            <a:fld id="{E5B0116A-0D09-4E99-8C69-B4C15A5D8A2B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17" name="Textplatzhalter 5">
            <a:extLst>
              <a:ext uri="{FF2B5EF4-FFF2-40B4-BE49-F238E27FC236}">
                <a16:creationId xmlns:a16="http://schemas.microsoft.com/office/drawing/2014/main" id="{2B6B5928-EEA2-335A-6F0B-F678DCCD7CAD}"/>
              </a:ext>
            </a:extLst>
          </p:cNvPr>
          <p:cNvSpPr txBox="1">
            <a:spLocks/>
          </p:cNvSpPr>
          <p:nvPr/>
        </p:nvSpPr>
        <p:spPr bwMode="auto">
          <a:xfrm>
            <a:off x="2299570" y="4294857"/>
            <a:ext cx="2917505" cy="13619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fontAlgn="base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7800" indent="-176213" algn="l" rtl="0" fontAlgn="base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77800" indent="-177800" algn="l" rtl="0" fontAlgn="base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357188" indent="-177800" algn="l" rtl="0" fontAlgn="base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357188" indent="-177800" algn="l" rtl="0" fontAlgn="base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360363" indent="-180975" algn="l" rtl="0" eaLnBrk="1" fontAlgn="base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Tx/>
              <a:tabLst/>
              <a:defRPr/>
            </a:pPr>
            <a:r>
              <a:rPr lang="en-US" sz="1600" b="1" kern="0" dirty="0">
                <a:solidFill>
                  <a:prstClr val="white"/>
                </a:solidFill>
                <a:latin typeface="+mn-lt"/>
                <a:cs typeface="+mn-cs"/>
              </a:rPr>
              <a:t>Sami El-Daou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ead of Global Training Excellence</a:t>
            </a:r>
            <a:b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iemens Gamesa –  Global </a:t>
            </a:r>
            <a:r>
              <a:rPr lang="en-US" sz="1050" kern="0" dirty="0">
                <a:solidFill>
                  <a:prstClr val="white"/>
                </a:solidFill>
                <a:latin typeface="+mn-lt"/>
                <a:cs typeface="+mn-cs"/>
              </a:rPr>
              <a:t>Training Excellence</a:t>
            </a:r>
            <a:endParaRPr kumimoji="0" lang="en-US" sz="105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50" kern="0" dirty="0">
                <a:solidFill>
                  <a:prstClr val="white"/>
                </a:solidFill>
                <a:latin typeface="+mn-lt"/>
                <a:cs typeface="+mn-cs"/>
              </a:rPr>
              <a:t>+45 31 36 60 06</a:t>
            </a:r>
            <a:b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Arial" panose="020B0604020202020204" pitchFamily="34" charset="-128"/>
                <a:cs typeface="Arial" panose="020B0604020202020204" pitchFamily="34" charset="-128"/>
              </a:rPr>
            </a:br>
            <a:r>
              <a:rPr lang="en-US" sz="1050" u="sng" kern="0" dirty="0">
                <a:solidFill>
                  <a:schemeClr val="accent3"/>
                </a:solidFill>
                <a:latin typeface="+mn-lt"/>
                <a:ea typeface="Arial" panose="020B0604020202020204" pitchFamily="34" charset="-128"/>
                <a:cs typeface="Arial" panose="020B0604020202020204" pitchFamily="34" charset="-128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ami.walid@siemensgamesa.com</a:t>
            </a:r>
            <a:r>
              <a:rPr lang="en-US" sz="1050" u="sng" kern="0" dirty="0">
                <a:solidFill>
                  <a:schemeClr val="accent3"/>
                </a:solidFill>
                <a:latin typeface="+mn-lt"/>
                <a:ea typeface="Arial" panose="020B0604020202020204" pitchFamily="34" charset="-128"/>
                <a:cs typeface="Arial" panose="020B0604020202020204" pitchFamily="34" charset="-128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50" kern="0" dirty="0">
                <a:solidFill>
                  <a:prstClr val="white"/>
                </a:solidFill>
                <a:latin typeface="+mn-lt"/>
                <a:cs typeface="+mn-cs"/>
              </a:rPr>
              <a:t>LinkedIn: Sami El-Daoud</a:t>
            </a:r>
          </a:p>
        </p:txBody>
      </p:sp>
      <p:pic>
        <p:nvPicPr>
          <p:cNvPr id="20" name="Picture 15" descr="A person with dark hair and beard smiling&#10;&#10;Description automatically generated">
            <a:extLst>
              <a:ext uri="{FF2B5EF4-FFF2-40B4-BE49-F238E27FC236}">
                <a16:creationId xmlns:a16="http://schemas.microsoft.com/office/drawing/2014/main" id="{FAB9E1FA-FEA0-E033-6EE4-501521A51913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/>
          <a:stretch/>
        </p:blipFill>
        <p:spPr>
          <a:xfrm>
            <a:off x="711596" y="4294857"/>
            <a:ext cx="1359366" cy="1359366"/>
          </a:xfrm>
          <a:prstGeom prst="ellipse">
            <a:avLst/>
          </a:prstGeom>
        </p:spPr>
      </p:pic>
      <p:sp>
        <p:nvSpPr>
          <p:cNvPr id="22" name="Freihandform: Form 21">
            <a:extLst>
              <a:ext uri="{FF2B5EF4-FFF2-40B4-BE49-F238E27FC236}">
                <a16:creationId xmlns:a16="http://schemas.microsoft.com/office/drawing/2014/main" id="{1A479989-A44C-71CC-56BE-7C939176A10D}"/>
              </a:ext>
            </a:extLst>
          </p:cNvPr>
          <p:cNvSpPr>
            <a:spLocks/>
          </p:cNvSpPr>
          <p:nvPr/>
        </p:nvSpPr>
        <p:spPr>
          <a:xfrm>
            <a:off x="7927350" y="3619645"/>
            <a:ext cx="3436650" cy="2482253"/>
          </a:xfrm>
          <a:custGeom>
            <a:avLst/>
            <a:gdLst>
              <a:gd name="connsiteX0" fmla="*/ 452838 w 881199"/>
              <a:gd name="connsiteY0" fmla="*/ 248853 h 636480"/>
              <a:gd name="connsiteX1" fmla="*/ 452838 w 881199"/>
              <a:gd name="connsiteY1" fmla="*/ 624240 h 636480"/>
              <a:gd name="connsiteX2" fmla="*/ 440600 w 881199"/>
              <a:gd name="connsiteY2" fmla="*/ 636480 h 636480"/>
              <a:gd name="connsiteX3" fmla="*/ 428361 w 881199"/>
              <a:gd name="connsiteY3" fmla="*/ 624240 h 636480"/>
              <a:gd name="connsiteX4" fmla="*/ 428361 w 881199"/>
              <a:gd name="connsiteY4" fmla="*/ 248853 h 636480"/>
              <a:gd name="connsiteX5" fmla="*/ 361536 w 881199"/>
              <a:gd name="connsiteY5" fmla="*/ 291802 h 636480"/>
              <a:gd name="connsiteX6" fmla="*/ 344620 w 881199"/>
              <a:gd name="connsiteY6" fmla="*/ 288130 h 636480"/>
              <a:gd name="connsiteX7" fmla="*/ 348291 w 881199"/>
              <a:gd name="connsiteY7" fmla="*/ 271211 h 636480"/>
              <a:gd name="connsiteX8" fmla="*/ 428333 w 881199"/>
              <a:gd name="connsiteY8" fmla="*/ 219749 h 636480"/>
              <a:gd name="connsiteX9" fmla="*/ 428333 w 881199"/>
              <a:gd name="connsiteY9" fmla="*/ 134640 h 636480"/>
              <a:gd name="connsiteX10" fmla="*/ 440572 w 881199"/>
              <a:gd name="connsiteY10" fmla="*/ 122400 h 636480"/>
              <a:gd name="connsiteX11" fmla="*/ 452811 w 881199"/>
              <a:gd name="connsiteY11" fmla="*/ 134640 h 636480"/>
              <a:gd name="connsiteX12" fmla="*/ 452811 w 881199"/>
              <a:gd name="connsiteY12" fmla="*/ 219749 h 636480"/>
              <a:gd name="connsiteX13" fmla="*/ 532853 w 881199"/>
              <a:gd name="connsiteY13" fmla="*/ 271211 h 636480"/>
              <a:gd name="connsiteX14" fmla="*/ 536525 w 881199"/>
              <a:gd name="connsiteY14" fmla="*/ 288130 h 636480"/>
              <a:gd name="connsiteX15" fmla="*/ 526217 w 881199"/>
              <a:gd name="connsiteY15" fmla="*/ 293760 h 636480"/>
              <a:gd name="connsiteX16" fmla="*/ 519608 w 881199"/>
              <a:gd name="connsiteY16" fmla="*/ 291802 h 636480"/>
              <a:gd name="connsiteX17" fmla="*/ 452784 w 881199"/>
              <a:gd name="connsiteY17" fmla="*/ 248853 h 636480"/>
              <a:gd name="connsiteX18" fmla="*/ 776679 w 881199"/>
              <a:gd name="connsiteY18" fmla="*/ 169402 h 636480"/>
              <a:gd name="connsiteX19" fmla="*/ 783288 w 881199"/>
              <a:gd name="connsiteY19" fmla="*/ 171360 h 636480"/>
              <a:gd name="connsiteX20" fmla="*/ 793596 w 881199"/>
              <a:gd name="connsiteY20" fmla="*/ 165730 h 636480"/>
              <a:gd name="connsiteX21" fmla="*/ 789924 w 881199"/>
              <a:gd name="connsiteY21" fmla="*/ 148811 h 636480"/>
              <a:gd name="connsiteX22" fmla="*/ 709882 w 881199"/>
              <a:gd name="connsiteY22" fmla="*/ 97349 h 636480"/>
              <a:gd name="connsiteX23" fmla="*/ 709882 w 881199"/>
              <a:gd name="connsiteY23" fmla="*/ 12240 h 636480"/>
              <a:gd name="connsiteX24" fmla="*/ 697643 w 881199"/>
              <a:gd name="connsiteY24" fmla="*/ 0 h 636480"/>
              <a:gd name="connsiteX25" fmla="*/ 685404 w 881199"/>
              <a:gd name="connsiteY25" fmla="*/ 12240 h 636480"/>
              <a:gd name="connsiteX26" fmla="*/ 685404 w 881199"/>
              <a:gd name="connsiteY26" fmla="*/ 97349 h 636480"/>
              <a:gd name="connsiteX27" fmla="*/ 605362 w 881199"/>
              <a:gd name="connsiteY27" fmla="*/ 148811 h 636480"/>
              <a:gd name="connsiteX28" fmla="*/ 601690 w 881199"/>
              <a:gd name="connsiteY28" fmla="*/ 165730 h 636480"/>
              <a:gd name="connsiteX29" fmla="*/ 618607 w 881199"/>
              <a:gd name="connsiteY29" fmla="*/ 169402 h 636480"/>
              <a:gd name="connsiteX30" fmla="*/ 685431 w 881199"/>
              <a:gd name="connsiteY30" fmla="*/ 126453 h 636480"/>
              <a:gd name="connsiteX31" fmla="*/ 685431 w 881199"/>
              <a:gd name="connsiteY31" fmla="*/ 501840 h 636480"/>
              <a:gd name="connsiteX32" fmla="*/ 697670 w 881199"/>
              <a:gd name="connsiteY32" fmla="*/ 514080 h 636480"/>
              <a:gd name="connsiteX33" fmla="*/ 709909 w 881199"/>
              <a:gd name="connsiteY33" fmla="*/ 501840 h 636480"/>
              <a:gd name="connsiteX34" fmla="*/ 709909 w 881199"/>
              <a:gd name="connsiteY34" fmla="*/ 126453 h 636480"/>
              <a:gd name="connsiteX35" fmla="*/ 776733 w 881199"/>
              <a:gd name="connsiteY35" fmla="*/ 169402 h 636480"/>
              <a:gd name="connsiteX36" fmla="*/ 262646 w 881199"/>
              <a:gd name="connsiteY36" fmla="*/ 169402 h 636480"/>
              <a:gd name="connsiteX37" fmla="*/ 269255 w 881199"/>
              <a:gd name="connsiteY37" fmla="*/ 171360 h 636480"/>
              <a:gd name="connsiteX38" fmla="*/ 279563 w 881199"/>
              <a:gd name="connsiteY38" fmla="*/ 165730 h 636480"/>
              <a:gd name="connsiteX39" fmla="*/ 275891 w 881199"/>
              <a:gd name="connsiteY39" fmla="*/ 148811 h 636480"/>
              <a:gd name="connsiteX40" fmla="*/ 195849 w 881199"/>
              <a:gd name="connsiteY40" fmla="*/ 97349 h 636480"/>
              <a:gd name="connsiteX41" fmla="*/ 195849 w 881199"/>
              <a:gd name="connsiteY41" fmla="*/ 12240 h 636480"/>
              <a:gd name="connsiteX42" fmla="*/ 183610 w 881199"/>
              <a:gd name="connsiteY42" fmla="*/ 0 h 636480"/>
              <a:gd name="connsiteX43" fmla="*/ 171371 w 881199"/>
              <a:gd name="connsiteY43" fmla="*/ 12240 h 636480"/>
              <a:gd name="connsiteX44" fmla="*/ 171371 w 881199"/>
              <a:gd name="connsiteY44" fmla="*/ 97349 h 636480"/>
              <a:gd name="connsiteX45" fmla="*/ 91329 w 881199"/>
              <a:gd name="connsiteY45" fmla="*/ 148811 h 636480"/>
              <a:gd name="connsiteX46" fmla="*/ 87658 w 881199"/>
              <a:gd name="connsiteY46" fmla="*/ 165730 h 636480"/>
              <a:gd name="connsiteX47" fmla="*/ 104574 w 881199"/>
              <a:gd name="connsiteY47" fmla="*/ 169402 h 636480"/>
              <a:gd name="connsiteX48" fmla="*/ 171399 w 881199"/>
              <a:gd name="connsiteY48" fmla="*/ 126453 h 636480"/>
              <a:gd name="connsiteX49" fmla="*/ 171399 w 881199"/>
              <a:gd name="connsiteY49" fmla="*/ 501840 h 636480"/>
              <a:gd name="connsiteX50" fmla="*/ 183638 w 881199"/>
              <a:gd name="connsiteY50" fmla="*/ 514080 h 636480"/>
              <a:gd name="connsiteX51" fmla="*/ 195876 w 881199"/>
              <a:gd name="connsiteY51" fmla="*/ 501840 h 636480"/>
              <a:gd name="connsiteX52" fmla="*/ 195876 w 881199"/>
              <a:gd name="connsiteY52" fmla="*/ 126453 h 636480"/>
              <a:gd name="connsiteX53" fmla="*/ 262701 w 881199"/>
              <a:gd name="connsiteY53" fmla="*/ 169402 h 636480"/>
              <a:gd name="connsiteX54" fmla="*/ 110150 w 881199"/>
              <a:gd name="connsiteY54" fmla="*/ 440613 h 636480"/>
              <a:gd name="connsiteX55" fmla="*/ 12239 w 881199"/>
              <a:gd name="connsiteY55" fmla="*/ 440613 h 636480"/>
              <a:gd name="connsiteX56" fmla="*/ 0 w 881199"/>
              <a:gd name="connsiteY56" fmla="*/ 452853 h 636480"/>
              <a:gd name="connsiteX57" fmla="*/ 12239 w 881199"/>
              <a:gd name="connsiteY57" fmla="*/ 465093 h 636480"/>
              <a:gd name="connsiteX58" fmla="*/ 110150 w 881199"/>
              <a:gd name="connsiteY58" fmla="*/ 465093 h 636480"/>
              <a:gd name="connsiteX59" fmla="*/ 122389 w 881199"/>
              <a:gd name="connsiteY59" fmla="*/ 452853 h 636480"/>
              <a:gd name="connsiteX60" fmla="*/ 110150 w 881199"/>
              <a:gd name="connsiteY60" fmla="*/ 440613 h 636480"/>
              <a:gd name="connsiteX61" fmla="*/ 367166 w 881199"/>
              <a:gd name="connsiteY61" fmla="*/ 440613 h 636480"/>
              <a:gd name="connsiteX62" fmla="*/ 257016 w 881199"/>
              <a:gd name="connsiteY62" fmla="*/ 440613 h 636480"/>
              <a:gd name="connsiteX63" fmla="*/ 244778 w 881199"/>
              <a:gd name="connsiteY63" fmla="*/ 452853 h 636480"/>
              <a:gd name="connsiteX64" fmla="*/ 257016 w 881199"/>
              <a:gd name="connsiteY64" fmla="*/ 465093 h 636480"/>
              <a:gd name="connsiteX65" fmla="*/ 367166 w 881199"/>
              <a:gd name="connsiteY65" fmla="*/ 465093 h 636480"/>
              <a:gd name="connsiteX66" fmla="*/ 379405 w 881199"/>
              <a:gd name="connsiteY66" fmla="*/ 452853 h 636480"/>
              <a:gd name="connsiteX67" fmla="*/ 367166 w 881199"/>
              <a:gd name="connsiteY67" fmla="*/ 440613 h 636480"/>
              <a:gd name="connsiteX68" fmla="*/ 624183 w 881199"/>
              <a:gd name="connsiteY68" fmla="*/ 440613 h 636480"/>
              <a:gd name="connsiteX69" fmla="*/ 514033 w 881199"/>
              <a:gd name="connsiteY69" fmla="*/ 440613 h 636480"/>
              <a:gd name="connsiteX70" fmla="*/ 501794 w 881199"/>
              <a:gd name="connsiteY70" fmla="*/ 452853 h 636480"/>
              <a:gd name="connsiteX71" fmla="*/ 514033 w 881199"/>
              <a:gd name="connsiteY71" fmla="*/ 465093 h 636480"/>
              <a:gd name="connsiteX72" fmla="*/ 624183 w 881199"/>
              <a:gd name="connsiteY72" fmla="*/ 465093 h 636480"/>
              <a:gd name="connsiteX73" fmla="*/ 636422 w 881199"/>
              <a:gd name="connsiteY73" fmla="*/ 452853 h 636480"/>
              <a:gd name="connsiteX74" fmla="*/ 624183 w 881199"/>
              <a:gd name="connsiteY74" fmla="*/ 440613 h 636480"/>
              <a:gd name="connsiteX75" fmla="*/ 868960 w 881199"/>
              <a:gd name="connsiteY75" fmla="*/ 440613 h 636480"/>
              <a:gd name="connsiteX76" fmla="*/ 771049 w 881199"/>
              <a:gd name="connsiteY76" fmla="*/ 440613 h 636480"/>
              <a:gd name="connsiteX77" fmla="*/ 758810 w 881199"/>
              <a:gd name="connsiteY77" fmla="*/ 452853 h 636480"/>
              <a:gd name="connsiteX78" fmla="*/ 771049 w 881199"/>
              <a:gd name="connsiteY78" fmla="*/ 465093 h 636480"/>
              <a:gd name="connsiteX79" fmla="*/ 868960 w 881199"/>
              <a:gd name="connsiteY79" fmla="*/ 465093 h 636480"/>
              <a:gd name="connsiteX80" fmla="*/ 881199 w 881199"/>
              <a:gd name="connsiteY80" fmla="*/ 452853 h 636480"/>
              <a:gd name="connsiteX81" fmla="*/ 868960 w 881199"/>
              <a:gd name="connsiteY81" fmla="*/ 440613 h 6364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</a:cxnLst>
            <a:rect l="l" t="t" r="r" b="b"/>
            <a:pathLst>
              <a:path w="881199" h="636480">
                <a:moveTo>
                  <a:pt x="452838" y="248853"/>
                </a:moveTo>
                <a:lnTo>
                  <a:pt x="452838" y="624240"/>
                </a:lnTo>
                <a:cubicBezTo>
                  <a:pt x="452838" y="631013"/>
                  <a:pt x="447372" y="636480"/>
                  <a:pt x="440600" y="636480"/>
                </a:cubicBezTo>
                <a:cubicBezTo>
                  <a:pt x="433827" y="636480"/>
                  <a:pt x="428361" y="631013"/>
                  <a:pt x="428361" y="624240"/>
                </a:cubicBezTo>
                <a:lnTo>
                  <a:pt x="428361" y="248853"/>
                </a:lnTo>
                <a:lnTo>
                  <a:pt x="361536" y="291802"/>
                </a:lnTo>
                <a:cubicBezTo>
                  <a:pt x="355852" y="295446"/>
                  <a:pt x="348291" y="293814"/>
                  <a:pt x="344620" y="288130"/>
                </a:cubicBezTo>
                <a:cubicBezTo>
                  <a:pt x="340975" y="282445"/>
                  <a:pt x="342607" y="274856"/>
                  <a:pt x="348291" y="271211"/>
                </a:cubicBezTo>
                <a:lnTo>
                  <a:pt x="428333" y="219749"/>
                </a:lnTo>
                <a:lnTo>
                  <a:pt x="428333" y="134640"/>
                </a:lnTo>
                <a:cubicBezTo>
                  <a:pt x="428333" y="127867"/>
                  <a:pt x="433800" y="122400"/>
                  <a:pt x="440572" y="122400"/>
                </a:cubicBezTo>
                <a:cubicBezTo>
                  <a:pt x="447344" y="122400"/>
                  <a:pt x="452811" y="127867"/>
                  <a:pt x="452811" y="134640"/>
                </a:cubicBezTo>
                <a:lnTo>
                  <a:pt x="452811" y="219749"/>
                </a:lnTo>
                <a:lnTo>
                  <a:pt x="532853" y="271211"/>
                </a:lnTo>
                <a:cubicBezTo>
                  <a:pt x="538538" y="274856"/>
                  <a:pt x="540197" y="282445"/>
                  <a:pt x="536525" y="288130"/>
                </a:cubicBezTo>
                <a:cubicBezTo>
                  <a:pt x="534186" y="291774"/>
                  <a:pt x="530243" y="293760"/>
                  <a:pt x="526217" y="293760"/>
                </a:cubicBezTo>
                <a:cubicBezTo>
                  <a:pt x="523960" y="293760"/>
                  <a:pt x="521648" y="293134"/>
                  <a:pt x="519608" y="291802"/>
                </a:cubicBezTo>
                <a:lnTo>
                  <a:pt x="452784" y="248853"/>
                </a:lnTo>
                <a:close/>
                <a:moveTo>
                  <a:pt x="776679" y="169402"/>
                </a:moveTo>
                <a:cubicBezTo>
                  <a:pt x="778719" y="170707"/>
                  <a:pt x="781031" y="171360"/>
                  <a:pt x="783288" y="171360"/>
                </a:cubicBezTo>
                <a:cubicBezTo>
                  <a:pt x="787313" y="171360"/>
                  <a:pt x="791257" y="169374"/>
                  <a:pt x="793596" y="165730"/>
                </a:cubicBezTo>
                <a:cubicBezTo>
                  <a:pt x="797240" y="160045"/>
                  <a:pt x="795608" y="152456"/>
                  <a:pt x="789924" y="148811"/>
                </a:cubicBezTo>
                <a:lnTo>
                  <a:pt x="709882" y="97349"/>
                </a:lnTo>
                <a:lnTo>
                  <a:pt x="709882" y="12240"/>
                </a:lnTo>
                <a:cubicBezTo>
                  <a:pt x="709882" y="5467"/>
                  <a:pt x="704415" y="0"/>
                  <a:pt x="697643" y="0"/>
                </a:cubicBezTo>
                <a:cubicBezTo>
                  <a:pt x="690871" y="0"/>
                  <a:pt x="685404" y="5467"/>
                  <a:pt x="685404" y="12240"/>
                </a:cubicBezTo>
                <a:lnTo>
                  <a:pt x="685404" y="97349"/>
                </a:lnTo>
                <a:lnTo>
                  <a:pt x="605362" y="148811"/>
                </a:lnTo>
                <a:cubicBezTo>
                  <a:pt x="599678" y="152456"/>
                  <a:pt x="598019" y="160045"/>
                  <a:pt x="601690" y="165730"/>
                </a:cubicBezTo>
                <a:cubicBezTo>
                  <a:pt x="605335" y="171414"/>
                  <a:pt x="612923" y="173074"/>
                  <a:pt x="618607" y="169402"/>
                </a:cubicBezTo>
                <a:lnTo>
                  <a:pt x="685431" y="126453"/>
                </a:lnTo>
                <a:lnTo>
                  <a:pt x="685431" y="501840"/>
                </a:lnTo>
                <a:cubicBezTo>
                  <a:pt x="685431" y="508613"/>
                  <a:pt x="690898" y="514080"/>
                  <a:pt x="697670" y="514080"/>
                </a:cubicBezTo>
                <a:cubicBezTo>
                  <a:pt x="704443" y="514080"/>
                  <a:pt x="709909" y="508613"/>
                  <a:pt x="709909" y="501840"/>
                </a:cubicBezTo>
                <a:lnTo>
                  <a:pt x="709909" y="126453"/>
                </a:lnTo>
                <a:lnTo>
                  <a:pt x="776733" y="169402"/>
                </a:lnTo>
                <a:close/>
                <a:moveTo>
                  <a:pt x="262646" y="169402"/>
                </a:moveTo>
                <a:cubicBezTo>
                  <a:pt x="264686" y="170707"/>
                  <a:pt x="266998" y="171360"/>
                  <a:pt x="269255" y="171360"/>
                </a:cubicBezTo>
                <a:cubicBezTo>
                  <a:pt x="273281" y="171360"/>
                  <a:pt x="277224" y="169374"/>
                  <a:pt x="279563" y="165730"/>
                </a:cubicBezTo>
                <a:cubicBezTo>
                  <a:pt x="283208" y="160045"/>
                  <a:pt x="281576" y="152456"/>
                  <a:pt x="275891" y="148811"/>
                </a:cubicBezTo>
                <a:lnTo>
                  <a:pt x="195849" y="97349"/>
                </a:lnTo>
                <a:lnTo>
                  <a:pt x="195849" y="12240"/>
                </a:lnTo>
                <a:cubicBezTo>
                  <a:pt x="195849" y="5467"/>
                  <a:pt x="190383" y="0"/>
                  <a:pt x="183610" y="0"/>
                </a:cubicBezTo>
                <a:cubicBezTo>
                  <a:pt x="176838" y="0"/>
                  <a:pt x="171371" y="5467"/>
                  <a:pt x="171371" y="12240"/>
                </a:cubicBezTo>
                <a:lnTo>
                  <a:pt x="171371" y="97349"/>
                </a:lnTo>
                <a:lnTo>
                  <a:pt x="91329" y="148811"/>
                </a:lnTo>
                <a:cubicBezTo>
                  <a:pt x="85645" y="152456"/>
                  <a:pt x="83986" y="160045"/>
                  <a:pt x="87658" y="165730"/>
                </a:cubicBezTo>
                <a:cubicBezTo>
                  <a:pt x="91302" y="171414"/>
                  <a:pt x="98890" y="173074"/>
                  <a:pt x="104574" y="169402"/>
                </a:cubicBezTo>
                <a:lnTo>
                  <a:pt x="171399" y="126453"/>
                </a:lnTo>
                <a:lnTo>
                  <a:pt x="171399" y="501840"/>
                </a:lnTo>
                <a:cubicBezTo>
                  <a:pt x="171399" y="508613"/>
                  <a:pt x="176865" y="514080"/>
                  <a:pt x="183638" y="514080"/>
                </a:cubicBezTo>
                <a:cubicBezTo>
                  <a:pt x="190410" y="514080"/>
                  <a:pt x="195876" y="508613"/>
                  <a:pt x="195876" y="501840"/>
                </a:cubicBezTo>
                <a:lnTo>
                  <a:pt x="195876" y="126453"/>
                </a:lnTo>
                <a:lnTo>
                  <a:pt x="262701" y="169402"/>
                </a:lnTo>
                <a:close/>
                <a:moveTo>
                  <a:pt x="110150" y="440613"/>
                </a:moveTo>
                <a:lnTo>
                  <a:pt x="12239" y="440613"/>
                </a:lnTo>
                <a:cubicBezTo>
                  <a:pt x="5467" y="440613"/>
                  <a:pt x="0" y="446080"/>
                  <a:pt x="0" y="452853"/>
                </a:cubicBezTo>
                <a:cubicBezTo>
                  <a:pt x="0" y="459626"/>
                  <a:pt x="5467" y="465093"/>
                  <a:pt x="12239" y="465093"/>
                </a:cubicBezTo>
                <a:lnTo>
                  <a:pt x="110150" y="465093"/>
                </a:lnTo>
                <a:cubicBezTo>
                  <a:pt x="116922" y="465093"/>
                  <a:pt x="122389" y="459626"/>
                  <a:pt x="122389" y="452853"/>
                </a:cubicBezTo>
                <a:cubicBezTo>
                  <a:pt x="122389" y="446080"/>
                  <a:pt x="116922" y="440613"/>
                  <a:pt x="110150" y="440613"/>
                </a:cubicBezTo>
                <a:close/>
                <a:moveTo>
                  <a:pt x="367166" y="440613"/>
                </a:moveTo>
                <a:lnTo>
                  <a:pt x="257016" y="440613"/>
                </a:lnTo>
                <a:cubicBezTo>
                  <a:pt x="250244" y="440613"/>
                  <a:pt x="244778" y="446080"/>
                  <a:pt x="244778" y="452853"/>
                </a:cubicBezTo>
                <a:cubicBezTo>
                  <a:pt x="244778" y="459626"/>
                  <a:pt x="250244" y="465093"/>
                  <a:pt x="257016" y="465093"/>
                </a:cubicBezTo>
                <a:lnTo>
                  <a:pt x="367166" y="465093"/>
                </a:lnTo>
                <a:cubicBezTo>
                  <a:pt x="373938" y="465093"/>
                  <a:pt x="379405" y="459626"/>
                  <a:pt x="379405" y="452853"/>
                </a:cubicBezTo>
                <a:cubicBezTo>
                  <a:pt x="379405" y="446080"/>
                  <a:pt x="373938" y="440613"/>
                  <a:pt x="367166" y="440613"/>
                </a:cubicBezTo>
                <a:close/>
                <a:moveTo>
                  <a:pt x="624183" y="440613"/>
                </a:moveTo>
                <a:lnTo>
                  <a:pt x="514033" y="440613"/>
                </a:lnTo>
                <a:cubicBezTo>
                  <a:pt x="507261" y="440613"/>
                  <a:pt x="501794" y="446080"/>
                  <a:pt x="501794" y="452853"/>
                </a:cubicBezTo>
                <a:cubicBezTo>
                  <a:pt x="501794" y="459626"/>
                  <a:pt x="507261" y="465093"/>
                  <a:pt x="514033" y="465093"/>
                </a:cubicBezTo>
                <a:lnTo>
                  <a:pt x="624183" y="465093"/>
                </a:lnTo>
                <a:cubicBezTo>
                  <a:pt x="630955" y="465093"/>
                  <a:pt x="636422" y="459626"/>
                  <a:pt x="636422" y="452853"/>
                </a:cubicBezTo>
                <a:cubicBezTo>
                  <a:pt x="636422" y="446080"/>
                  <a:pt x="630955" y="440613"/>
                  <a:pt x="624183" y="440613"/>
                </a:cubicBezTo>
                <a:close/>
                <a:moveTo>
                  <a:pt x="868960" y="440613"/>
                </a:moveTo>
                <a:lnTo>
                  <a:pt x="771049" y="440613"/>
                </a:lnTo>
                <a:cubicBezTo>
                  <a:pt x="764277" y="440613"/>
                  <a:pt x="758810" y="446080"/>
                  <a:pt x="758810" y="452853"/>
                </a:cubicBezTo>
                <a:cubicBezTo>
                  <a:pt x="758810" y="459626"/>
                  <a:pt x="764277" y="465093"/>
                  <a:pt x="771049" y="465093"/>
                </a:cubicBezTo>
                <a:lnTo>
                  <a:pt x="868960" y="465093"/>
                </a:lnTo>
                <a:cubicBezTo>
                  <a:pt x="875732" y="465093"/>
                  <a:pt x="881199" y="459626"/>
                  <a:pt x="881199" y="452853"/>
                </a:cubicBezTo>
                <a:cubicBezTo>
                  <a:pt x="881199" y="446080"/>
                  <a:pt x="875732" y="440613"/>
                  <a:pt x="868960" y="440613"/>
                </a:cubicBezTo>
                <a:close/>
              </a:path>
            </a:pathLst>
          </a:custGeom>
          <a:solidFill>
            <a:schemeClr val="accent3"/>
          </a:solidFill>
          <a:ln w="269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50224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69C59535-6C7D-9A13-08BB-01D20B7748A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83655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9C59535-6C7D-9A13-08BB-01D20B7748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995BAA31-6406-69C3-D4C0-25656024110B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462934" y="660947"/>
            <a:ext cx="5370786" cy="5214336"/>
          </a:xfrm>
        </p:spPr>
        <p:txBody>
          <a:bodyPr/>
          <a:lstStyle/>
          <a:p>
            <a:r>
              <a:rPr lang="en-US" b="1" dirty="0">
                <a:solidFill>
                  <a:schemeClr val="bg1"/>
                </a:solidFill>
              </a:rPr>
              <a:t>Siemens Gamesa Renewable Energy</a:t>
            </a:r>
            <a:endParaRPr lang="da-DK" b="1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dirty="0">
                <a:solidFill>
                  <a:schemeClr val="bg1"/>
                </a:solidFill>
              </a:rPr>
              <a:t>SGRE er en global leder inden for vedvarende energiteknologi, med fokus på </a:t>
            </a:r>
            <a:r>
              <a:rPr lang="da-DK" b="1" dirty="0">
                <a:solidFill>
                  <a:schemeClr val="bg1"/>
                </a:solidFill>
              </a:rPr>
              <a:t>vindenergi</a:t>
            </a:r>
            <a:r>
              <a:rPr lang="da-DK" dirty="0">
                <a:solidFill>
                  <a:schemeClr val="bg1"/>
                </a:solidFill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dirty="0">
                <a:solidFill>
                  <a:schemeClr val="bg1"/>
                </a:solidFill>
              </a:rPr>
              <a:t>Virksomheden </a:t>
            </a:r>
            <a:r>
              <a:rPr lang="da-DK" b="1" dirty="0">
                <a:solidFill>
                  <a:schemeClr val="bg1"/>
                </a:solidFill>
              </a:rPr>
              <a:t>udvikler, producerer og vedligeholder</a:t>
            </a:r>
            <a:r>
              <a:rPr lang="da-DK" dirty="0">
                <a:solidFill>
                  <a:schemeClr val="bg1"/>
                </a:solidFill>
              </a:rPr>
              <a:t> vindmøller, både onshore og offshor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dirty="0">
                <a:solidFill>
                  <a:schemeClr val="bg1"/>
                </a:solidFill>
              </a:rPr>
              <a:t>SGRE har projekter og teknikere i </a:t>
            </a:r>
            <a:r>
              <a:rPr lang="da-DK" b="1" dirty="0">
                <a:solidFill>
                  <a:schemeClr val="bg1"/>
                </a:solidFill>
              </a:rPr>
              <a:t>globalt</a:t>
            </a:r>
          </a:p>
          <a:p>
            <a:endParaRPr lang="da-DK" dirty="0">
              <a:solidFill>
                <a:schemeClr val="bg1"/>
              </a:solidFill>
            </a:endParaRPr>
          </a:p>
          <a:p>
            <a:endParaRPr lang="da-DK" dirty="0">
              <a:solidFill>
                <a:schemeClr val="bg1"/>
              </a:solidFill>
            </a:endParaRPr>
          </a:p>
          <a:p>
            <a:endParaRPr lang="da-DK" dirty="0">
              <a:solidFill>
                <a:schemeClr val="bg1"/>
              </a:solidFill>
            </a:endParaRPr>
          </a:p>
          <a:p>
            <a:r>
              <a:rPr lang="da-DK" b="1" dirty="0">
                <a:solidFill>
                  <a:schemeClr val="bg1"/>
                </a:solidFill>
              </a:rPr>
              <a:t>Global Training Excelle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>
                <a:solidFill>
                  <a:schemeClr val="bg1"/>
                </a:solidFill>
              </a:rPr>
              <a:t>Ansvarlig</a:t>
            </a:r>
            <a:r>
              <a:rPr lang="en-US" dirty="0">
                <a:solidFill>
                  <a:schemeClr val="bg1"/>
                </a:solidFill>
              </a:rPr>
              <a:t> for SGRE </a:t>
            </a:r>
            <a:r>
              <a:rPr lang="en-US" dirty="0" err="1">
                <a:solidFill>
                  <a:schemeClr val="bg1"/>
                </a:solidFill>
              </a:rPr>
              <a:t>teknikeres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kompetence</a:t>
            </a:r>
            <a:r>
              <a:rPr lang="en-US" dirty="0">
                <a:solidFill>
                  <a:schemeClr val="bg1"/>
                </a:solidFill>
              </a:rPr>
              <a:t> frameworks </a:t>
            </a:r>
            <a:r>
              <a:rPr lang="en-US" dirty="0" err="1">
                <a:solidFill>
                  <a:schemeClr val="bg1"/>
                </a:solidFill>
              </a:rPr>
              <a:t>samt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udvikling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og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vedligeholdese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af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træning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og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træningsleveringsmetoder</a:t>
            </a:r>
            <a:r>
              <a:rPr lang="en-US" dirty="0">
                <a:solidFill>
                  <a:schemeClr val="bg1"/>
                </a:solidFill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a-DK" dirty="0">
              <a:solidFill>
                <a:schemeClr val="bg1"/>
              </a:solidFill>
            </a:endParaRPr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7169BC16-FFA2-633C-52FA-5FBF8D1573F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/>
              <a:t>© Siemens Gamesa Renewable Energy, 2025 | Sami El-Daoud</a:t>
            </a:r>
            <a:endParaRPr lang="en-GB" dirty="0"/>
          </a:p>
        </p:txBody>
      </p:sp>
      <p:pic>
        <p:nvPicPr>
          <p:cNvPr id="16" name="Image">
            <a:extLst>
              <a:ext uri="{FF2B5EF4-FFF2-40B4-BE49-F238E27FC236}">
                <a16:creationId xmlns:a16="http://schemas.microsoft.com/office/drawing/2014/main" id="{31E1F808-E359-0528-F08A-A238F9D7D787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4397" t="2912" r="1551" b="2835"/>
          <a:stretch/>
        </p:blipFill>
        <p:spPr bwMode="gray">
          <a:xfrm>
            <a:off x="0" y="-1"/>
            <a:ext cx="6096000" cy="7336671"/>
          </a:xfrm>
          <a:prstGeom prst="rect">
            <a:avLst/>
          </a:prstGeom>
        </p:spPr>
      </p:pic>
      <p:cxnSp>
        <p:nvCxnSpPr>
          <p:cNvPr id="18" name="Lige forbindelse 17">
            <a:extLst>
              <a:ext uri="{FF2B5EF4-FFF2-40B4-BE49-F238E27FC236}">
                <a16:creationId xmlns:a16="http://schemas.microsoft.com/office/drawing/2014/main" id="{417C246A-45DA-76D2-C015-5ED90144E551}"/>
              </a:ext>
            </a:extLst>
          </p:cNvPr>
          <p:cNvCxnSpPr/>
          <p:nvPr/>
        </p:nvCxnSpPr>
        <p:spPr>
          <a:xfrm>
            <a:off x="6600497" y="3289738"/>
            <a:ext cx="5002924" cy="0"/>
          </a:xfrm>
          <a:prstGeom prst="line">
            <a:avLst/>
          </a:prstGeom>
          <a:ln w="19050" cap="rnd">
            <a:solidFill>
              <a:schemeClr val="accent6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453114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D07FA8C-5C80-70B6-1294-A9D1850507E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D07FA8C-5C80-70B6-1294-A9D1850507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89E23F2-3FD0-2FF1-D6B1-707861013C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Agenda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5C4BF6B-E90B-F12E-247C-C8E9DADFB8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Siemens Gamesa Renewable Energy, 2025 | Sami El-Daoud</a:t>
            </a:r>
            <a:endParaRPr lang="en-GB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718048DB-81A1-1FD8-BD2D-0D5F69E68A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D1E00E-1E4E-4C8B-96B1-5A423A77B51C}" type="datetime1">
              <a:rPr lang="en-US" smtClean="0"/>
              <a:t>2/6/2025</a:t>
            </a:fld>
            <a:endParaRPr lang="en-US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AC46B636-73F3-D369-F489-A853262C57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B0116A-0D09-4E99-8C69-B4C15A5D8A2B}" type="slidenum">
              <a:rPr lang="en-US" smtClean="0"/>
              <a:pPr/>
              <a:t>3</a:t>
            </a:fld>
            <a:endParaRPr lang="en-US"/>
          </a:p>
        </p:txBody>
      </p:sp>
      <p:cxnSp>
        <p:nvCxnSpPr>
          <p:cNvPr id="10" name="Time line">
            <a:extLst>
              <a:ext uri="{FF2B5EF4-FFF2-40B4-BE49-F238E27FC236}">
                <a16:creationId xmlns:a16="http://schemas.microsoft.com/office/drawing/2014/main" id="{7E1F234D-09FC-6A3D-1ADB-54AD26135AD6}"/>
              </a:ext>
            </a:extLst>
          </p:cNvPr>
          <p:cNvCxnSpPr>
            <a:cxnSpLocks/>
          </p:cNvCxnSpPr>
          <p:nvPr/>
        </p:nvCxnSpPr>
        <p:spPr>
          <a:xfrm>
            <a:off x="1" y="3102686"/>
            <a:ext cx="9544049" cy="0"/>
          </a:xfrm>
          <a:prstGeom prst="line">
            <a:avLst/>
          </a:prstGeom>
          <a:ln w="38100">
            <a:solidFill>
              <a:srgbClr val="5A467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Copy 1">
            <a:extLst>
              <a:ext uri="{FF2B5EF4-FFF2-40B4-BE49-F238E27FC236}">
                <a16:creationId xmlns:a16="http://schemas.microsoft.com/office/drawing/2014/main" id="{B35B4E8E-A46E-B15A-6F8E-8427CA62D85D}"/>
              </a:ext>
            </a:extLst>
          </p:cNvPr>
          <p:cNvSpPr txBox="1">
            <a:spLocks/>
          </p:cNvSpPr>
          <p:nvPr/>
        </p:nvSpPr>
        <p:spPr>
          <a:xfrm>
            <a:off x="1391954" y="4239082"/>
            <a:ext cx="1537541" cy="79149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300"/>
              </a:spcAft>
            </a:pPr>
            <a:r>
              <a:rPr lang="en-US" b="1" dirty="0"/>
              <a:t>VR deep dive</a:t>
            </a:r>
          </a:p>
          <a:p>
            <a:r>
              <a:rPr lang="en-US" sz="1400" dirty="0" err="1"/>
              <a:t>Anvendelse</a:t>
            </a:r>
            <a:r>
              <a:rPr lang="en-US" sz="1400" dirty="0"/>
              <a:t> </a:t>
            </a:r>
            <a:r>
              <a:rPr lang="en-US" sz="1400" dirty="0" err="1"/>
              <a:t>af</a:t>
            </a:r>
            <a:r>
              <a:rPr lang="en-US" sz="1400" dirty="0"/>
              <a:t> VR </a:t>
            </a:r>
            <a:r>
              <a:rPr lang="en-US" sz="1400" dirty="0" err="1"/>
              <a:t>i</a:t>
            </a:r>
            <a:r>
              <a:rPr lang="en-US" sz="1400" dirty="0"/>
              <a:t> SGRE</a:t>
            </a:r>
          </a:p>
          <a:p>
            <a:endParaRPr lang="en-US" sz="1400" dirty="0"/>
          </a:p>
        </p:txBody>
      </p:sp>
      <p:sp>
        <p:nvSpPr>
          <p:cNvPr id="39" name="Copy 1">
            <a:extLst>
              <a:ext uri="{FF2B5EF4-FFF2-40B4-BE49-F238E27FC236}">
                <a16:creationId xmlns:a16="http://schemas.microsoft.com/office/drawing/2014/main" id="{132338B9-ED10-05A6-0160-17F3E5F3CB80}"/>
              </a:ext>
            </a:extLst>
          </p:cNvPr>
          <p:cNvSpPr txBox="1">
            <a:spLocks/>
          </p:cNvSpPr>
          <p:nvPr/>
        </p:nvSpPr>
        <p:spPr>
          <a:xfrm>
            <a:off x="4034393" y="4239082"/>
            <a:ext cx="1761626" cy="79149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300"/>
              </a:spcAft>
            </a:pPr>
            <a:r>
              <a:rPr lang="en-US" b="1" dirty="0"/>
              <a:t>Goggles on!</a:t>
            </a:r>
          </a:p>
          <a:p>
            <a:r>
              <a:rPr lang="en-US" sz="1400" dirty="0"/>
              <a:t>Show, don’t tell</a:t>
            </a:r>
          </a:p>
          <a:p>
            <a:endParaRPr lang="en-US" sz="1200" dirty="0"/>
          </a:p>
        </p:txBody>
      </p:sp>
      <p:sp>
        <p:nvSpPr>
          <p:cNvPr id="40" name="Copy 1">
            <a:extLst>
              <a:ext uri="{FF2B5EF4-FFF2-40B4-BE49-F238E27FC236}">
                <a16:creationId xmlns:a16="http://schemas.microsoft.com/office/drawing/2014/main" id="{5A5BEA9F-506D-7596-7CBA-0B8F93D1B97F}"/>
              </a:ext>
            </a:extLst>
          </p:cNvPr>
          <p:cNvSpPr txBox="1">
            <a:spLocks/>
          </p:cNvSpPr>
          <p:nvPr/>
        </p:nvSpPr>
        <p:spPr>
          <a:xfrm>
            <a:off x="6676833" y="4239082"/>
            <a:ext cx="1761625" cy="79149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300"/>
              </a:spcAft>
            </a:pPr>
            <a:r>
              <a:rPr lang="en-US" b="1" dirty="0"/>
              <a:t>Se </a:t>
            </a:r>
            <a:r>
              <a:rPr lang="en-US" b="1" dirty="0" err="1"/>
              <a:t>fremad</a:t>
            </a:r>
            <a:endParaRPr lang="en-US" b="1" dirty="0"/>
          </a:p>
          <a:p>
            <a:r>
              <a:rPr lang="en-US" sz="1400" dirty="0" err="1"/>
              <a:t>Udnyt</a:t>
            </a:r>
            <a:r>
              <a:rPr lang="en-US" sz="1400" dirty="0"/>
              <a:t> </a:t>
            </a:r>
            <a:r>
              <a:rPr lang="en-US" sz="1400" dirty="0" err="1"/>
              <a:t>potentialet</a:t>
            </a:r>
            <a:endParaRPr lang="en-US" sz="1200" dirty="0"/>
          </a:p>
        </p:txBody>
      </p:sp>
      <p:sp>
        <p:nvSpPr>
          <p:cNvPr id="17" name="Bullet 2">
            <a:extLst>
              <a:ext uri="{FF2B5EF4-FFF2-40B4-BE49-F238E27FC236}">
                <a16:creationId xmlns:a16="http://schemas.microsoft.com/office/drawing/2014/main" id="{F2A1CFED-73B4-C1C1-9AA3-78824B2C0064}"/>
              </a:ext>
            </a:extLst>
          </p:cNvPr>
          <p:cNvSpPr>
            <a:spLocks noChangeAspect="1"/>
          </p:cNvSpPr>
          <p:nvPr/>
        </p:nvSpPr>
        <p:spPr>
          <a:xfrm>
            <a:off x="3872163" y="2221873"/>
            <a:ext cx="1761626" cy="1761626"/>
          </a:xfrm>
          <a:prstGeom prst="ellipse">
            <a:avLst/>
          </a:prstGeom>
          <a:solidFill>
            <a:schemeClr val="accent3"/>
          </a:solidFill>
          <a:ln w="7620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8000" b="1" dirty="0">
                <a:solidFill>
                  <a:schemeClr val="accent1"/>
                </a:solidFill>
                <a:cs typeface="Times New Roman" panose="02020603050405020304" pitchFamily="18" charset="0"/>
              </a:rPr>
              <a:t>2</a:t>
            </a:r>
          </a:p>
        </p:txBody>
      </p:sp>
      <p:sp>
        <p:nvSpPr>
          <p:cNvPr id="33" name="Bullet 2">
            <a:extLst>
              <a:ext uri="{FF2B5EF4-FFF2-40B4-BE49-F238E27FC236}">
                <a16:creationId xmlns:a16="http://schemas.microsoft.com/office/drawing/2014/main" id="{5FBBC3A6-4DCB-D7DF-FC2D-468B18FD8EF7}"/>
              </a:ext>
            </a:extLst>
          </p:cNvPr>
          <p:cNvSpPr>
            <a:spLocks noChangeAspect="1"/>
          </p:cNvSpPr>
          <p:nvPr/>
        </p:nvSpPr>
        <p:spPr>
          <a:xfrm>
            <a:off x="6558213" y="2221873"/>
            <a:ext cx="1761626" cy="1761626"/>
          </a:xfrm>
          <a:prstGeom prst="ellipse">
            <a:avLst/>
          </a:prstGeom>
          <a:solidFill>
            <a:schemeClr val="accent3"/>
          </a:solidFill>
          <a:ln w="7620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8000" b="1" dirty="0">
                <a:solidFill>
                  <a:schemeClr val="accent1"/>
                </a:solidFill>
                <a:cs typeface="Times New Roman" panose="02020603050405020304" pitchFamily="18" charset="0"/>
              </a:rPr>
              <a:t>3</a:t>
            </a:r>
          </a:p>
        </p:txBody>
      </p:sp>
      <p:sp>
        <p:nvSpPr>
          <p:cNvPr id="37" name="Bullet 2">
            <a:extLst>
              <a:ext uri="{FF2B5EF4-FFF2-40B4-BE49-F238E27FC236}">
                <a16:creationId xmlns:a16="http://schemas.microsoft.com/office/drawing/2014/main" id="{045E4312-D46A-1DCF-B5CD-F11266BCF6A2}"/>
              </a:ext>
            </a:extLst>
          </p:cNvPr>
          <p:cNvSpPr>
            <a:spLocks noChangeAspect="1"/>
          </p:cNvSpPr>
          <p:nvPr/>
        </p:nvSpPr>
        <p:spPr>
          <a:xfrm>
            <a:off x="1167869" y="2221873"/>
            <a:ext cx="1761626" cy="1761626"/>
          </a:xfrm>
          <a:prstGeom prst="ellipse">
            <a:avLst/>
          </a:prstGeom>
          <a:solidFill>
            <a:schemeClr val="accent3"/>
          </a:solidFill>
          <a:ln w="7620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8000" b="1" dirty="0">
                <a:solidFill>
                  <a:schemeClr val="accent1"/>
                </a:solidFill>
                <a:cs typeface="Times New Roman" panose="02020603050405020304" pitchFamily="18" charset="0"/>
              </a:rPr>
              <a:t>1</a:t>
            </a:r>
          </a:p>
        </p:txBody>
      </p:sp>
      <p:sp>
        <p:nvSpPr>
          <p:cNvPr id="9" name="Copy 1">
            <a:extLst>
              <a:ext uri="{FF2B5EF4-FFF2-40B4-BE49-F238E27FC236}">
                <a16:creationId xmlns:a16="http://schemas.microsoft.com/office/drawing/2014/main" id="{D870E92B-457C-8119-661F-9B9A9F4940C5}"/>
              </a:ext>
            </a:extLst>
          </p:cNvPr>
          <p:cNvSpPr txBox="1">
            <a:spLocks/>
          </p:cNvSpPr>
          <p:nvPr/>
        </p:nvSpPr>
        <p:spPr>
          <a:xfrm>
            <a:off x="9319272" y="4239082"/>
            <a:ext cx="2129778" cy="79149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300"/>
              </a:spcAft>
            </a:pPr>
            <a:r>
              <a:rPr lang="en-US" b="1" dirty="0" err="1"/>
              <a:t>Anvendelse</a:t>
            </a:r>
            <a:r>
              <a:rPr lang="en-US" b="1" dirty="0"/>
              <a:t> </a:t>
            </a:r>
            <a:r>
              <a:rPr lang="en-US" b="1" dirty="0" err="1"/>
              <a:t>i</a:t>
            </a:r>
            <a:r>
              <a:rPr lang="en-US" b="1" dirty="0"/>
              <a:t> FSV</a:t>
            </a:r>
          </a:p>
          <a:p>
            <a:r>
              <a:rPr lang="en-US" sz="1400" dirty="0" err="1"/>
              <a:t>Hvad</a:t>
            </a:r>
            <a:r>
              <a:rPr lang="en-US" sz="1400" dirty="0"/>
              <a:t> </a:t>
            </a:r>
            <a:r>
              <a:rPr lang="en-US" sz="1400" dirty="0" err="1"/>
              <a:t>tænker</a:t>
            </a:r>
            <a:r>
              <a:rPr lang="en-US" sz="1400" dirty="0"/>
              <a:t> I?</a:t>
            </a:r>
          </a:p>
          <a:p>
            <a:r>
              <a:rPr lang="en-US" sz="1400" dirty="0"/>
              <a:t>Q&amp;A</a:t>
            </a:r>
          </a:p>
          <a:p>
            <a:endParaRPr lang="en-US" sz="1400" dirty="0"/>
          </a:p>
        </p:txBody>
      </p:sp>
      <p:sp>
        <p:nvSpPr>
          <p:cNvPr id="11" name="Bullet 2">
            <a:extLst>
              <a:ext uri="{FF2B5EF4-FFF2-40B4-BE49-F238E27FC236}">
                <a16:creationId xmlns:a16="http://schemas.microsoft.com/office/drawing/2014/main" id="{282B9DD0-9EA8-ECC1-2749-54FD87FC67B6}"/>
              </a:ext>
            </a:extLst>
          </p:cNvPr>
          <p:cNvSpPr>
            <a:spLocks noChangeAspect="1"/>
          </p:cNvSpPr>
          <p:nvPr/>
        </p:nvSpPr>
        <p:spPr>
          <a:xfrm>
            <a:off x="9244263" y="2185822"/>
            <a:ext cx="1761626" cy="1761626"/>
          </a:xfrm>
          <a:prstGeom prst="ellipse">
            <a:avLst/>
          </a:prstGeom>
          <a:solidFill>
            <a:schemeClr val="accent3"/>
          </a:solidFill>
          <a:ln w="7620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8000" b="1" dirty="0">
                <a:solidFill>
                  <a:schemeClr val="accent1"/>
                </a:solidFill>
                <a:cs typeface="Times New Roman" panose="02020603050405020304" pitchFamily="18" charset="0"/>
              </a:rPr>
              <a:t>4</a:t>
            </a:r>
          </a:p>
        </p:txBody>
      </p:sp>
      <p:sp>
        <p:nvSpPr>
          <p:cNvPr id="13" name="Rechteck 4">
            <a:extLst>
              <a:ext uri="{FF2B5EF4-FFF2-40B4-BE49-F238E27FC236}">
                <a16:creationId xmlns:a16="http://schemas.microsoft.com/office/drawing/2014/main" id="{82BCE16C-FD00-25FC-C21D-F2B11BAE8DB9}"/>
              </a:ext>
            </a:extLst>
          </p:cNvPr>
          <p:cNvSpPr>
            <a:spLocks/>
          </p:cNvSpPr>
          <p:nvPr/>
        </p:nvSpPr>
        <p:spPr>
          <a:xfrm>
            <a:off x="3363310" y="1341441"/>
            <a:ext cx="7894254" cy="4175118"/>
          </a:xfrm>
          <a:prstGeom prst="rect">
            <a:avLst/>
          </a:prstGeom>
          <a:solidFill>
            <a:schemeClr val="accent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t"/>
          <a:lstStyle/>
          <a:p>
            <a:pPr algn="l"/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49DE3D4-FE5A-8A09-EF37-03A8F1EF65FC}"/>
              </a:ext>
            </a:extLst>
          </p:cNvPr>
          <p:cNvSpPr txBox="1"/>
          <p:nvPr/>
        </p:nvSpPr>
        <p:spPr>
          <a:xfrm>
            <a:off x="3138487" y="5383253"/>
            <a:ext cx="5915025" cy="52102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b="1" dirty="0"/>
              <a:t>“HVORDAN KAN DETTE ANVENDES I FORSVARET?”</a:t>
            </a:r>
          </a:p>
        </p:txBody>
      </p:sp>
    </p:spTree>
    <p:extLst>
      <p:ext uri="{BB962C8B-B14F-4D97-AF65-F5344CB8AC3E}">
        <p14:creationId xmlns:p14="http://schemas.microsoft.com/office/powerpoint/2010/main" val="2305243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3DC667-C3ED-D8E5-00A4-ED200E6AA6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9CEF333-5C40-0253-49E6-85B433948A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Siemens Gamesa Renewable Energy, 2025 | Sami El-Daoud</a:t>
            </a:r>
            <a:endParaRPr lang="en-GB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A803FE3-C5E6-066C-80FD-8E53C4A40374}"/>
              </a:ext>
            </a:extLst>
          </p:cNvPr>
          <p:cNvSpPr txBox="1"/>
          <p:nvPr/>
        </p:nvSpPr>
        <p:spPr>
          <a:xfrm>
            <a:off x="3649715" y="2417379"/>
            <a:ext cx="7189077" cy="316098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3200" dirty="0" err="1"/>
              <a:t>Hvordan</a:t>
            </a:r>
            <a:r>
              <a:rPr lang="en-US" sz="3200" dirty="0"/>
              <a:t> </a:t>
            </a:r>
            <a:r>
              <a:rPr lang="en-US" sz="3200" dirty="0" err="1"/>
              <a:t>kan</a:t>
            </a:r>
            <a:r>
              <a:rPr lang="en-US" sz="3200" dirty="0"/>
              <a:t> Siemens Gamesa </a:t>
            </a:r>
            <a:r>
              <a:rPr lang="en-US" sz="3200" dirty="0" err="1"/>
              <a:t>designe</a:t>
            </a:r>
            <a:r>
              <a:rPr lang="en-US" sz="3200" dirty="0"/>
              <a:t> </a:t>
            </a:r>
            <a:r>
              <a:rPr lang="en-US" sz="3200" dirty="0" err="1"/>
              <a:t>træning</a:t>
            </a:r>
            <a:r>
              <a:rPr lang="en-US" sz="3200" dirty="0"/>
              <a:t> for at </a:t>
            </a:r>
            <a:r>
              <a:rPr lang="en-US" sz="3200" dirty="0" err="1"/>
              <a:t>imødekomme</a:t>
            </a:r>
            <a:r>
              <a:rPr lang="en-US" sz="3200" dirty="0"/>
              <a:t> den store </a:t>
            </a:r>
            <a:r>
              <a:rPr lang="en-US" sz="3200" dirty="0" err="1">
                <a:solidFill>
                  <a:srgbClr val="00B0AD"/>
                </a:solidFill>
              </a:rPr>
              <a:t>tilgang</a:t>
            </a:r>
            <a:r>
              <a:rPr lang="en-US" sz="3200" dirty="0">
                <a:solidFill>
                  <a:srgbClr val="00B0AD"/>
                </a:solidFill>
              </a:rPr>
              <a:t> </a:t>
            </a:r>
            <a:r>
              <a:rPr lang="en-US" sz="3200" dirty="0" err="1">
                <a:solidFill>
                  <a:srgbClr val="00B0AD"/>
                </a:solidFill>
              </a:rPr>
              <a:t>af</a:t>
            </a:r>
            <a:r>
              <a:rPr lang="en-US" sz="3200" dirty="0">
                <a:solidFill>
                  <a:srgbClr val="00B0AD"/>
                </a:solidFill>
              </a:rPr>
              <a:t> </a:t>
            </a:r>
            <a:r>
              <a:rPr lang="en-US" sz="3200" dirty="0" err="1">
                <a:solidFill>
                  <a:srgbClr val="00B0AD"/>
                </a:solidFill>
              </a:rPr>
              <a:t>teknikkere</a:t>
            </a:r>
            <a:r>
              <a:rPr lang="en-US" sz="3200" dirty="0">
                <a:solidFill>
                  <a:srgbClr val="00B0AD"/>
                </a:solidFill>
              </a:rPr>
              <a:t> </a:t>
            </a:r>
            <a:r>
              <a:rPr lang="en-US" sz="3200" dirty="0" err="1"/>
              <a:t>samt</a:t>
            </a:r>
            <a:r>
              <a:rPr lang="en-US" sz="3200" dirty="0"/>
              <a:t> </a:t>
            </a:r>
            <a:r>
              <a:rPr lang="en-US" sz="3200" dirty="0" err="1"/>
              <a:t>reducere</a:t>
            </a:r>
            <a:r>
              <a:rPr lang="en-US" sz="3200" dirty="0"/>
              <a:t> </a:t>
            </a:r>
            <a:r>
              <a:rPr lang="en-US" sz="3200" dirty="0" err="1"/>
              <a:t>omkostninger</a:t>
            </a:r>
            <a:r>
              <a:rPr lang="en-US" sz="3200" dirty="0"/>
              <a:t> </a:t>
            </a:r>
            <a:r>
              <a:rPr lang="en-US" sz="3200" dirty="0" err="1"/>
              <a:t>forbundet</a:t>
            </a:r>
            <a:r>
              <a:rPr lang="en-US" sz="3200" dirty="0"/>
              <a:t> med </a:t>
            </a:r>
            <a:r>
              <a:rPr lang="en-US" sz="3200" dirty="0">
                <a:solidFill>
                  <a:srgbClr val="00B0AD"/>
                </a:solidFill>
              </a:rPr>
              <a:t>traditional nacelle-</a:t>
            </a:r>
            <a:r>
              <a:rPr lang="en-US" sz="3200" dirty="0" err="1">
                <a:solidFill>
                  <a:srgbClr val="00B0AD"/>
                </a:solidFill>
              </a:rPr>
              <a:t>træning</a:t>
            </a:r>
            <a:r>
              <a:rPr lang="en-US" sz="3200" dirty="0"/>
              <a:t>?</a:t>
            </a:r>
          </a:p>
        </p:txBody>
      </p:sp>
      <p:pic>
        <p:nvPicPr>
          <p:cNvPr id="6" name="Graphic 5" descr="Question Mark with solid fill">
            <a:extLst>
              <a:ext uri="{FF2B5EF4-FFF2-40B4-BE49-F238E27FC236}">
                <a16:creationId xmlns:a16="http://schemas.microsoft.com/office/drawing/2014/main" id="{B7621E60-307A-4899-E9C2-EAE40B5939A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203431" y="2417378"/>
            <a:ext cx="2446283" cy="2446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652494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003CC87-3FBD-3514-3939-76E4C0DDD16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15165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003CC87-3FBD-3514-3939-76E4C0DDD1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8406B70-37D5-F400-8861-DE96D6940C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1"/>
            <a:ext cx="9659938" cy="1414800"/>
          </a:xfrm>
        </p:spPr>
        <p:txBody>
          <a:bodyPr vert="horz"/>
          <a:lstStyle/>
          <a:p>
            <a:r>
              <a:rPr lang="en-US" dirty="0" err="1"/>
              <a:t>Hvad</a:t>
            </a:r>
            <a:r>
              <a:rPr lang="en-US" dirty="0"/>
              <a:t> er VR?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D071EAD-50B8-CF01-8B33-6900E237F0F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526800"/>
            <a:ext cx="1692000" cy="331200"/>
          </a:xfrm>
        </p:spPr>
        <p:txBody>
          <a:bodyPr/>
          <a:lstStyle/>
          <a:p>
            <a:fld id="{16F41B5E-094B-4437-B464-AF43902D4CCA}" type="datetime1">
              <a:rPr lang="en-US" smtClean="0"/>
              <a:t>2/6/2025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5B665B6-7452-8EA1-4643-E920ADCC50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42400" y="6526800"/>
            <a:ext cx="5950800" cy="331200"/>
          </a:xfrm>
        </p:spPr>
        <p:txBody>
          <a:bodyPr/>
          <a:lstStyle/>
          <a:p>
            <a:r>
              <a:rPr lang="en-US" dirty="0"/>
              <a:t>© Siemens Gamesa Renewable Energy, 2025 | Sami El-Daoud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92C4F42-DD23-0C7E-9417-87DEC81D11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64000" y="6526800"/>
            <a:ext cx="828000" cy="331200"/>
          </a:xfrm>
        </p:spPr>
        <p:txBody>
          <a:bodyPr/>
          <a:lstStyle/>
          <a:p>
            <a:fld id="{E5B0116A-0D09-4E99-8C69-B4C15A5D8A2B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730434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D18B4609-6EC4-43EF-9E65-8179D9E8357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4735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D18B4609-6EC4-43EF-9E65-8179D9E835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43F12EC-B89A-488B-ADD6-ED1F3934E2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Global </a:t>
            </a:r>
            <a:r>
              <a:rPr lang="en-US" dirty="0" err="1"/>
              <a:t>Træningsstrategi</a:t>
            </a:r>
            <a:br>
              <a:rPr lang="en-US" dirty="0"/>
            </a:br>
            <a:r>
              <a:rPr kumimoji="0" lang="en-US" sz="2400" b="1" i="0" u="none" strike="noStrike" kern="1200" cap="none" spc="0" normalizeH="0" baseline="0" dirty="0" err="1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Hvad</a:t>
            </a:r>
            <a:r>
              <a:rPr kumimoji="0" lang="en-US" sz="2400" b="1" i="0" u="none" strike="noStrike" kern="1200" cap="none" spc="0" normalizeH="0" baseline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dirty="0" err="1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muliggøres</a:t>
            </a:r>
            <a:r>
              <a:rPr kumimoji="0" lang="en-US" sz="2400" b="1" i="0" u="none" strike="noStrike" kern="1200" cap="none" spc="0" normalizeH="0" baseline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dirty="0" err="1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af</a:t>
            </a:r>
            <a:r>
              <a:rPr kumimoji="0" lang="en-US" sz="2400" b="1" i="0" u="none" strike="noStrike" kern="1200" cap="none" spc="0" normalizeH="0" baseline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 VR?</a:t>
            </a:r>
            <a:endParaRPr lang="en-US" b="0" dirty="0"/>
          </a:p>
        </p:txBody>
      </p:sp>
      <p:sp>
        <p:nvSpPr>
          <p:cNvPr id="29" name="Textfeld 5">
            <a:extLst>
              <a:ext uri="{FF2B5EF4-FFF2-40B4-BE49-F238E27FC236}">
                <a16:creationId xmlns:a16="http://schemas.microsoft.com/office/drawing/2014/main" id="{AEECD89D-92BA-08BE-DD88-99B14B022898}"/>
              </a:ext>
            </a:extLst>
          </p:cNvPr>
          <p:cNvSpPr txBox="1"/>
          <p:nvPr/>
        </p:nvSpPr>
        <p:spPr bwMode="gray">
          <a:xfrm>
            <a:off x="3358448" y="4030663"/>
            <a:ext cx="7405629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2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0" algn="l"/>
              </a:tabLst>
              <a:defRPr/>
            </a:pPr>
            <a:r>
              <a:rPr kumimoji="0" lang="da-DK" sz="1400" b="0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+mn-cs"/>
              </a:rPr>
              <a:t>VR-</a:t>
            </a:r>
            <a:r>
              <a:rPr kumimoji="0" lang="da-DK" sz="1400" b="0" i="0" u="none" strike="noStrike" kern="1200" cap="none" spc="0" normalizeH="0" baseline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+mn-cs"/>
              </a:rPr>
              <a:t>headsets</a:t>
            </a:r>
            <a:r>
              <a:rPr kumimoji="0" lang="da-DK" sz="1400" b="0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+mn-cs"/>
              </a:rPr>
              <a:t> kan sendes til kursisten, som derefter kan deltage i træningssessioner online. Dette giver </a:t>
            </a:r>
            <a:r>
              <a:rPr kumimoji="0" lang="da-DK" sz="1400" i="0" u="none" strike="noStrike" kern="1200" cap="none" spc="0" normalizeH="0" baseline="0" dirty="0">
                <a:ln>
                  <a:noFill/>
                </a:ln>
                <a:effectLst/>
                <a:uLnTx/>
                <a:uFillTx/>
                <a:latin typeface="Arial"/>
                <a:ea typeface="Calibri" panose="020F0502020204030204" pitchFamily="34" charset="0"/>
                <a:cs typeface="+mn-cs"/>
              </a:rPr>
              <a:t>en</a:t>
            </a:r>
            <a:r>
              <a:rPr kumimoji="0" lang="da-DK" sz="1400" b="1" i="0" u="none" strike="noStrike" kern="1200" cap="none" spc="0" normalizeH="0" baseline="0" dirty="0">
                <a:ln>
                  <a:noFill/>
                </a:ln>
                <a:solidFill>
                  <a:srgbClr val="00B0AD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+mn-cs"/>
              </a:rPr>
              <a:t> fleksibel, omkostningseffektiv </a:t>
            </a:r>
            <a:r>
              <a:rPr kumimoji="0" lang="da-DK" sz="1400" i="0" u="none" strike="noStrike" kern="1200" cap="none" spc="0" normalizeH="0" baseline="0" dirty="0">
                <a:ln>
                  <a:noFill/>
                </a:ln>
                <a:effectLst/>
                <a:uLnTx/>
                <a:uFillTx/>
                <a:latin typeface="Arial"/>
                <a:ea typeface="Calibri" panose="020F0502020204030204" pitchFamily="34" charset="0"/>
                <a:cs typeface="+mn-cs"/>
              </a:rPr>
              <a:t>og</a:t>
            </a:r>
            <a:r>
              <a:rPr kumimoji="0" lang="da-DK" sz="1400" b="1" i="0" u="none" strike="noStrike" kern="1200" cap="none" spc="0" normalizeH="0" baseline="0" dirty="0">
                <a:ln>
                  <a:noFill/>
                </a:ln>
                <a:solidFill>
                  <a:srgbClr val="00B0AD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+mn-cs"/>
              </a:rPr>
              <a:t> bæredygtig</a:t>
            </a:r>
            <a:r>
              <a:rPr kumimoji="0" lang="da-DK" sz="1400" b="0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+mn-cs"/>
              </a:rPr>
              <a:t> træningsløsning.</a:t>
            </a:r>
            <a:endParaRPr kumimoji="0" lang="en-US" sz="1400" b="1" i="0" u="none" strike="noStrike" kern="1200" cap="none" spc="0" normalizeH="0" baseline="0" dirty="0">
              <a:ln>
                <a:noFill/>
              </a:ln>
              <a:solidFill>
                <a:schemeClr val="accent3"/>
              </a:solidFill>
              <a:effectLst/>
              <a:uLnTx/>
              <a:uFillTx/>
              <a:latin typeface="Arial"/>
              <a:ea typeface="Calibri" panose="020F0502020204030204" pitchFamily="34" charset="0"/>
              <a:cs typeface="+mn-cs"/>
            </a:endParaRPr>
          </a:p>
        </p:txBody>
      </p:sp>
      <p:sp>
        <p:nvSpPr>
          <p:cNvPr id="32" name="Textfeld 4">
            <a:extLst>
              <a:ext uri="{FF2B5EF4-FFF2-40B4-BE49-F238E27FC236}">
                <a16:creationId xmlns:a16="http://schemas.microsoft.com/office/drawing/2014/main" id="{15296B4C-0297-F0EE-570B-29E88C1DA979}"/>
              </a:ext>
            </a:extLst>
          </p:cNvPr>
          <p:cNvSpPr txBox="1"/>
          <p:nvPr/>
        </p:nvSpPr>
        <p:spPr bwMode="gray">
          <a:xfrm>
            <a:off x="3358449" y="4614370"/>
            <a:ext cx="6301490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0" algn="l"/>
              </a:tabLst>
              <a:defRPr/>
            </a:pPr>
            <a:r>
              <a:rPr lang="da-DK" sz="1400" dirty="0">
                <a:solidFill>
                  <a:prstClr val="white"/>
                </a:solidFill>
                <a:latin typeface="Arial"/>
                <a:ea typeface="Calibri" panose="020F0502020204030204" pitchFamily="34" charset="0"/>
              </a:rPr>
              <a:t>Geografisk distance er ikke en parameter</a:t>
            </a:r>
            <a:r>
              <a:rPr kumimoji="0" lang="da-DK" sz="1400" b="0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+mn-cs"/>
              </a:rPr>
              <a:t>, hvilket den rigtige </a:t>
            </a:r>
            <a:r>
              <a:rPr kumimoji="0" lang="da-DK" sz="1400" b="1" i="0" u="none" strike="noStrike" kern="1200" cap="none" spc="0" normalizeH="0" baseline="0" dirty="0">
                <a:ln>
                  <a:noFill/>
                </a:ln>
                <a:solidFill>
                  <a:srgbClr val="00B0AD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+mn-cs"/>
              </a:rPr>
              <a:t>SME kan involveres </a:t>
            </a:r>
            <a:r>
              <a:rPr kumimoji="0" lang="da-DK" sz="1400" b="0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+mn-cs"/>
              </a:rPr>
              <a:t>igennem multiplayer funktion</a:t>
            </a:r>
          </a:p>
        </p:txBody>
      </p:sp>
      <p:sp>
        <p:nvSpPr>
          <p:cNvPr id="33" name="Textfeld 7">
            <a:extLst>
              <a:ext uri="{FF2B5EF4-FFF2-40B4-BE49-F238E27FC236}">
                <a16:creationId xmlns:a16="http://schemas.microsoft.com/office/drawing/2014/main" id="{32D1CFDC-1DBE-EF7F-E5B9-6B85B8B3C1BB}"/>
              </a:ext>
            </a:extLst>
          </p:cNvPr>
          <p:cNvSpPr txBox="1"/>
          <p:nvPr/>
        </p:nvSpPr>
        <p:spPr bwMode="gray">
          <a:xfrm>
            <a:off x="3358449" y="3445382"/>
            <a:ext cx="7117394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2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0" algn="l"/>
              </a:tabLst>
              <a:defRPr/>
            </a:pPr>
            <a:r>
              <a:rPr kumimoji="0" lang="da-DK" sz="1400" b="0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Digitalt træning muliggør hyppige opdateringer, der </a:t>
            </a:r>
            <a:r>
              <a:rPr kumimoji="0" lang="da-DK" sz="1400" b="1" i="0" u="none" strike="noStrike" kern="1200" cap="none" spc="0" normalizeH="0" baseline="0" dirty="0">
                <a:ln>
                  <a:noFill/>
                </a:ln>
                <a:solidFill>
                  <a:srgbClr val="00B0AD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matcher teknologiens udgivelsescyklusser</a:t>
            </a:r>
            <a:r>
              <a:rPr kumimoji="0" lang="da-DK" sz="1400" b="0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, og ændringer eller variationer i turbiner kan hurtigt implementeres.</a:t>
            </a:r>
          </a:p>
        </p:txBody>
      </p:sp>
      <p:sp>
        <p:nvSpPr>
          <p:cNvPr id="19" name="Textfeld 3">
            <a:extLst>
              <a:ext uri="{FF2B5EF4-FFF2-40B4-BE49-F238E27FC236}">
                <a16:creationId xmlns:a16="http://schemas.microsoft.com/office/drawing/2014/main" id="{9722A4F4-B91E-4658-A6BA-EC769529692F}"/>
              </a:ext>
            </a:extLst>
          </p:cNvPr>
          <p:cNvSpPr txBox="1">
            <a:spLocks/>
          </p:cNvSpPr>
          <p:nvPr/>
        </p:nvSpPr>
        <p:spPr bwMode="gray">
          <a:xfrm>
            <a:off x="615421" y="5139667"/>
            <a:ext cx="2531642" cy="547707"/>
          </a:xfrm>
          <a:prstGeom prst="rect">
            <a:avLst/>
          </a:prstGeom>
          <a:noFill/>
          <a:ln>
            <a:solidFill>
              <a:srgbClr val="00B0AD"/>
            </a:solidFill>
          </a:ln>
        </p:spPr>
        <p:txBody>
          <a:bodyPr wrap="square" lIns="108000" tIns="0" rIns="0" bIns="0" rtlCol="0" anchor="ctr">
            <a:noAutofit/>
          </a:bodyPr>
          <a:lstStyle/>
          <a:p>
            <a:pPr marL="0" marR="0" lvl="0" indent="0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</a:tabLst>
              <a:defRPr/>
            </a:pPr>
            <a:r>
              <a:rPr lang="en-US" sz="1400" b="1" dirty="0" err="1">
                <a:latin typeface="Arial"/>
                <a:ea typeface="Arial Unicode MS"/>
              </a:rPr>
              <a:t>Omkostningseffektivitet</a:t>
            </a:r>
            <a:endParaRPr lang="en-US" sz="1400" b="1" dirty="0"/>
          </a:p>
        </p:txBody>
      </p:sp>
      <p:sp>
        <p:nvSpPr>
          <p:cNvPr id="20" name="Textfeld 5">
            <a:extLst>
              <a:ext uri="{FF2B5EF4-FFF2-40B4-BE49-F238E27FC236}">
                <a16:creationId xmlns:a16="http://schemas.microsoft.com/office/drawing/2014/main" id="{13C59683-0254-4392-9321-752F8DD7B2D6}"/>
              </a:ext>
            </a:extLst>
          </p:cNvPr>
          <p:cNvSpPr txBox="1">
            <a:spLocks/>
          </p:cNvSpPr>
          <p:nvPr/>
        </p:nvSpPr>
        <p:spPr bwMode="gray">
          <a:xfrm>
            <a:off x="627063" y="3972253"/>
            <a:ext cx="2520000" cy="547707"/>
          </a:xfrm>
          <a:prstGeom prst="rect">
            <a:avLst/>
          </a:prstGeom>
          <a:noFill/>
          <a:ln>
            <a:solidFill>
              <a:srgbClr val="00B0AD"/>
            </a:solidFill>
          </a:ln>
        </p:spPr>
        <p:txBody>
          <a:bodyPr wrap="square" lIns="10800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0" algn="l"/>
              </a:tabLst>
              <a:defRPr/>
            </a:pPr>
            <a:r>
              <a:rPr kumimoji="0" lang="en-US" sz="1400" b="1" i="0" u="none" strike="noStrike" kern="1200" cap="none" spc="0" normalizeH="0" baseline="0" dirty="0" err="1">
                <a:ln>
                  <a:noFill/>
                </a:ln>
                <a:effectLst/>
                <a:uLnTx/>
                <a:uFillTx/>
                <a:latin typeface="Arial"/>
                <a:ea typeface="Arial Unicode MS"/>
                <a:cs typeface="+mn-cs"/>
              </a:rPr>
              <a:t>Fjernundervisning</a:t>
            </a:r>
            <a:endParaRPr kumimoji="0" lang="en-US" sz="1400" b="1" i="0" u="none" strike="noStrike" kern="1200" cap="none" spc="0" normalizeH="0" baseline="0" dirty="0">
              <a:ln>
                <a:noFill/>
              </a:ln>
              <a:effectLst/>
              <a:uLnTx/>
              <a:uFillTx/>
              <a:latin typeface="Arial"/>
              <a:ea typeface="Arial Unicode MS"/>
              <a:cs typeface="+mn-cs"/>
            </a:endParaRPr>
          </a:p>
        </p:txBody>
      </p:sp>
      <p:sp>
        <p:nvSpPr>
          <p:cNvPr id="22" name="Textfeld 51">
            <a:extLst>
              <a:ext uri="{FF2B5EF4-FFF2-40B4-BE49-F238E27FC236}">
                <a16:creationId xmlns:a16="http://schemas.microsoft.com/office/drawing/2014/main" id="{DB5226ED-DAF7-4867-B65E-7A4A949E4AB9}"/>
              </a:ext>
            </a:extLst>
          </p:cNvPr>
          <p:cNvSpPr txBox="1">
            <a:spLocks/>
          </p:cNvSpPr>
          <p:nvPr/>
        </p:nvSpPr>
        <p:spPr bwMode="gray">
          <a:xfrm>
            <a:off x="627063" y="2804839"/>
            <a:ext cx="2520000" cy="547707"/>
          </a:xfrm>
          <a:prstGeom prst="rect">
            <a:avLst/>
          </a:prstGeom>
          <a:noFill/>
          <a:ln>
            <a:solidFill>
              <a:srgbClr val="00B0AD"/>
            </a:solidFill>
          </a:ln>
        </p:spPr>
        <p:txBody>
          <a:bodyPr wrap="square" lIns="108000" tIns="0" rIns="0" bIns="0" rtlCol="0" anchor="ctr">
            <a:noAutofit/>
          </a:bodyPr>
          <a:lstStyle/>
          <a:p>
            <a:pPr marL="0" marR="0" lvl="0" indent="0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</a:tabLst>
              <a:defRPr/>
            </a:pPr>
            <a:r>
              <a:rPr lang="en-US" sz="1400" b="1" dirty="0" err="1">
                <a:latin typeface="Arial"/>
              </a:rPr>
              <a:t>Bryd</a:t>
            </a:r>
            <a:r>
              <a:rPr lang="en-US" sz="1400" b="1" dirty="0">
                <a:latin typeface="Arial"/>
              </a:rPr>
              <a:t> den </a:t>
            </a:r>
            <a:r>
              <a:rPr lang="en-US" sz="1400" b="1" dirty="0" err="1">
                <a:latin typeface="Arial"/>
              </a:rPr>
              <a:t>fysiske</a:t>
            </a:r>
            <a:r>
              <a:rPr lang="en-US" sz="1400" b="1" dirty="0">
                <a:latin typeface="Arial"/>
              </a:rPr>
              <a:t> </a:t>
            </a:r>
            <a:r>
              <a:rPr lang="en-US" sz="1400" b="1" dirty="0" err="1">
                <a:latin typeface="Arial"/>
              </a:rPr>
              <a:t>barriere</a:t>
            </a:r>
            <a:endParaRPr lang="en-US" sz="1400" b="1" dirty="0">
              <a:latin typeface="Arial"/>
            </a:endParaRPr>
          </a:p>
        </p:txBody>
      </p:sp>
      <p:sp>
        <p:nvSpPr>
          <p:cNvPr id="23" name="Textfeld 4">
            <a:extLst>
              <a:ext uri="{FF2B5EF4-FFF2-40B4-BE49-F238E27FC236}">
                <a16:creationId xmlns:a16="http://schemas.microsoft.com/office/drawing/2014/main" id="{BFB97966-5898-4D66-B937-548ED7B3A006}"/>
              </a:ext>
            </a:extLst>
          </p:cNvPr>
          <p:cNvSpPr txBox="1">
            <a:spLocks/>
          </p:cNvSpPr>
          <p:nvPr/>
        </p:nvSpPr>
        <p:spPr bwMode="gray">
          <a:xfrm>
            <a:off x="627063" y="4555960"/>
            <a:ext cx="2520000" cy="547707"/>
          </a:xfrm>
          <a:prstGeom prst="rect">
            <a:avLst/>
          </a:prstGeom>
          <a:noFill/>
          <a:ln>
            <a:solidFill>
              <a:srgbClr val="00B0AD"/>
            </a:solidFill>
          </a:ln>
        </p:spPr>
        <p:txBody>
          <a:bodyPr wrap="square" lIns="10800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0" algn="l"/>
              </a:tabLst>
              <a:defRPr/>
            </a:pPr>
            <a:r>
              <a:rPr kumimoji="0" lang="en-US" sz="1400" b="1" i="0" u="none" strike="noStrike" kern="1200" cap="none" spc="0" normalizeH="0" baseline="0" dirty="0">
                <a:ln>
                  <a:noFill/>
                </a:ln>
                <a:effectLst/>
                <a:uLnTx/>
                <a:uFillTx/>
                <a:latin typeface="Arial"/>
                <a:ea typeface="Arial Unicode MS"/>
                <a:cs typeface="+mn-cs"/>
              </a:rPr>
              <a:t>SME </a:t>
            </a:r>
            <a:r>
              <a:rPr kumimoji="0" lang="en-US" sz="1400" b="1" i="0" u="none" strike="noStrike" kern="1200" cap="none" spc="0" normalizeH="0" baseline="0" dirty="0" err="1">
                <a:ln>
                  <a:noFill/>
                </a:ln>
                <a:effectLst/>
                <a:uLnTx/>
                <a:uFillTx/>
                <a:latin typeface="Arial"/>
                <a:ea typeface="Arial Unicode MS"/>
                <a:cs typeface="+mn-cs"/>
              </a:rPr>
              <a:t>involvering</a:t>
            </a:r>
            <a:endParaRPr kumimoji="0" lang="en-US" sz="1400" b="1" i="0" u="none" strike="noStrike" kern="1200" cap="none" spc="0" normalizeH="0" baseline="0" dirty="0">
              <a:ln>
                <a:noFill/>
              </a:ln>
              <a:effectLst/>
              <a:uLnTx/>
              <a:uFillTx/>
              <a:latin typeface="Arial"/>
              <a:ea typeface="Arial Unicode MS"/>
              <a:cs typeface="+mn-cs"/>
            </a:endParaRPr>
          </a:p>
        </p:txBody>
      </p:sp>
      <p:sp>
        <p:nvSpPr>
          <p:cNvPr id="24" name="Textfeld 7">
            <a:extLst>
              <a:ext uri="{FF2B5EF4-FFF2-40B4-BE49-F238E27FC236}">
                <a16:creationId xmlns:a16="http://schemas.microsoft.com/office/drawing/2014/main" id="{E15EF1A6-B9E0-47BC-A3A2-1002B9C9274A}"/>
              </a:ext>
            </a:extLst>
          </p:cNvPr>
          <p:cNvSpPr txBox="1">
            <a:spLocks/>
          </p:cNvSpPr>
          <p:nvPr/>
        </p:nvSpPr>
        <p:spPr bwMode="gray">
          <a:xfrm>
            <a:off x="627063" y="3388546"/>
            <a:ext cx="2520000" cy="547707"/>
          </a:xfrm>
          <a:prstGeom prst="rect">
            <a:avLst/>
          </a:prstGeom>
          <a:noFill/>
          <a:ln>
            <a:solidFill>
              <a:srgbClr val="00B0AD"/>
            </a:solidFill>
          </a:ln>
        </p:spPr>
        <p:txBody>
          <a:bodyPr wrap="square" lIns="10800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0" algn="l"/>
              </a:tabLst>
              <a:defRPr/>
            </a:pPr>
            <a:r>
              <a:rPr lang="en-US" sz="1400" b="1" dirty="0" err="1">
                <a:latin typeface="Arial"/>
                <a:ea typeface="Arial Unicode MS"/>
              </a:rPr>
              <a:t>Hyppige</a:t>
            </a:r>
            <a:r>
              <a:rPr kumimoji="0" lang="en-US" sz="1400" b="1" i="0" u="none" strike="noStrike" kern="1200" cap="none" spc="0" normalizeH="0" baseline="0" dirty="0">
                <a:ln>
                  <a:noFill/>
                </a:ln>
                <a:effectLst/>
                <a:uLnTx/>
                <a:uFillTx/>
                <a:latin typeface="Arial"/>
                <a:ea typeface="Arial Unicode MS"/>
                <a:cs typeface="+mn-cs"/>
              </a:rPr>
              <a:t> </a:t>
            </a:r>
            <a:r>
              <a:rPr kumimoji="0" lang="en-US" sz="1400" b="1" i="0" u="none" strike="noStrike" kern="1200" cap="none" spc="0" normalizeH="0" baseline="0" dirty="0" err="1">
                <a:ln>
                  <a:noFill/>
                </a:ln>
                <a:effectLst/>
                <a:uLnTx/>
                <a:uFillTx/>
                <a:latin typeface="Arial"/>
                <a:ea typeface="Arial Unicode MS"/>
                <a:cs typeface="+mn-cs"/>
              </a:rPr>
              <a:t>opdateringer</a:t>
            </a:r>
            <a:endParaRPr kumimoji="0" lang="en-US" sz="1400" b="1" i="0" u="none" strike="noStrike" kern="1200" cap="none" spc="0" normalizeH="0" baseline="0" dirty="0">
              <a:ln>
                <a:noFill/>
              </a:ln>
              <a:effectLst/>
              <a:uLnTx/>
              <a:uFillTx/>
              <a:latin typeface="Arial"/>
              <a:ea typeface="Arial Unicode MS"/>
              <a:cs typeface="+mn-cs"/>
            </a:endParaRPr>
          </a:p>
        </p:txBody>
      </p: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1D283755-6E14-5ABB-AF87-7A52D941595E}"/>
              </a:ext>
            </a:extLst>
          </p:cNvPr>
          <p:cNvCxnSpPr>
            <a:cxnSpLocks/>
          </p:cNvCxnSpPr>
          <p:nvPr/>
        </p:nvCxnSpPr>
        <p:spPr>
          <a:xfrm>
            <a:off x="3358450" y="3370546"/>
            <a:ext cx="4749482" cy="0"/>
          </a:xfrm>
          <a:prstGeom prst="line">
            <a:avLst/>
          </a:prstGeom>
          <a:ln w="9525" cap="rnd">
            <a:solidFill>
              <a:srgbClr val="5A467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092B796C-D46D-C2D1-BA65-9AB4891BFF72}"/>
              </a:ext>
            </a:extLst>
          </p:cNvPr>
          <p:cNvCxnSpPr>
            <a:cxnSpLocks/>
          </p:cNvCxnSpPr>
          <p:nvPr/>
        </p:nvCxnSpPr>
        <p:spPr>
          <a:xfrm>
            <a:off x="3358450" y="3954253"/>
            <a:ext cx="4749482" cy="0"/>
          </a:xfrm>
          <a:prstGeom prst="line">
            <a:avLst/>
          </a:prstGeom>
          <a:ln w="9525" cap="rnd">
            <a:solidFill>
              <a:srgbClr val="5A467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4652D15D-7D61-5A45-E9AE-4005DE438697}"/>
              </a:ext>
            </a:extLst>
          </p:cNvPr>
          <p:cNvCxnSpPr>
            <a:cxnSpLocks/>
          </p:cNvCxnSpPr>
          <p:nvPr/>
        </p:nvCxnSpPr>
        <p:spPr>
          <a:xfrm>
            <a:off x="3358450" y="4537960"/>
            <a:ext cx="4749482" cy="0"/>
          </a:xfrm>
          <a:prstGeom prst="line">
            <a:avLst/>
          </a:prstGeom>
          <a:ln w="9525" cap="rnd">
            <a:solidFill>
              <a:srgbClr val="5A467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A6BC681F-C7B5-909A-6239-C46E05F33844}"/>
              </a:ext>
            </a:extLst>
          </p:cNvPr>
          <p:cNvCxnSpPr>
            <a:cxnSpLocks/>
          </p:cNvCxnSpPr>
          <p:nvPr/>
        </p:nvCxnSpPr>
        <p:spPr>
          <a:xfrm>
            <a:off x="3358450" y="5121667"/>
            <a:ext cx="4749482" cy="0"/>
          </a:xfrm>
          <a:prstGeom prst="line">
            <a:avLst/>
          </a:prstGeom>
          <a:ln w="9525" cap="rnd">
            <a:solidFill>
              <a:srgbClr val="5A467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Fußzeilenplatzhalter 6">
            <a:extLst>
              <a:ext uri="{FF2B5EF4-FFF2-40B4-BE49-F238E27FC236}">
                <a16:creationId xmlns:a16="http://schemas.microsoft.com/office/drawing/2014/main" id="{42D2D100-2E14-46B0-81AE-68A0601EFD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74920" y="6526800"/>
            <a:ext cx="7118280" cy="331200"/>
          </a:xfrm>
        </p:spPr>
        <p:txBody>
          <a:bodyPr/>
          <a:lstStyle/>
          <a:p>
            <a:r>
              <a:rPr lang="en-US" dirty="0"/>
              <a:t>© Siemens Gamesa Renewable Energy, 2025 | Sami El-Daoud</a:t>
            </a:r>
            <a:endParaRPr lang="en-GB" dirty="0"/>
          </a:p>
        </p:txBody>
      </p:sp>
      <p:pic>
        <p:nvPicPr>
          <p:cNvPr id="4" name="Picture 3" descr="A white outline of a vr goggles&#10;&#10;Description automatically generated">
            <a:extLst>
              <a:ext uri="{FF2B5EF4-FFF2-40B4-BE49-F238E27FC236}">
                <a16:creationId xmlns:a16="http://schemas.microsoft.com/office/drawing/2014/main" id="{BBDB637E-9D0A-180F-A6EF-FD5D72979B6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635291" y="-222250"/>
            <a:ext cx="1843578" cy="1843578"/>
          </a:xfrm>
          <a:prstGeom prst="rect">
            <a:avLst/>
          </a:prstGeom>
        </p:spPr>
      </p:pic>
      <p:sp>
        <p:nvSpPr>
          <p:cNvPr id="9" name="Textfeld 51">
            <a:extLst>
              <a:ext uri="{FF2B5EF4-FFF2-40B4-BE49-F238E27FC236}">
                <a16:creationId xmlns:a16="http://schemas.microsoft.com/office/drawing/2014/main" id="{1BACC8DB-4B34-C45E-15C1-934F9731D6BF}"/>
              </a:ext>
            </a:extLst>
          </p:cNvPr>
          <p:cNvSpPr txBox="1"/>
          <p:nvPr/>
        </p:nvSpPr>
        <p:spPr bwMode="gray">
          <a:xfrm>
            <a:off x="3358449" y="1655080"/>
            <a:ext cx="7212016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tabLst>
                <a:tab pos="0" algn="l"/>
              </a:tabLst>
              <a:defRPr/>
            </a:pPr>
            <a:r>
              <a:rPr kumimoji="0" lang="da-DK" sz="1400" i="0" u="none" strike="noStrike" kern="1200" cap="none" spc="0" normalizeH="0" baseline="0" dirty="0">
                <a:ln>
                  <a:noFill/>
                </a:ln>
                <a:effectLst/>
                <a:uLnTx/>
                <a:uFillTx/>
                <a:latin typeface="Arial"/>
                <a:ea typeface="Arial Unicode MS"/>
                <a:cs typeface="+mn-cs"/>
              </a:rPr>
              <a:t>Træning i VR tillader at kursisterne kan udføre øvelse </a:t>
            </a:r>
            <a:r>
              <a:rPr lang="da-DK" sz="1400" dirty="0">
                <a:ea typeface="Arial Unicode MS"/>
                <a:cs typeface="+mn-lt"/>
              </a:rPr>
              <a:t>i</a:t>
            </a:r>
            <a:r>
              <a:rPr lang="da-DK" sz="1400" b="1" dirty="0">
                <a:ea typeface="Arial Unicode MS"/>
                <a:cs typeface="+mn-lt"/>
              </a:rPr>
              <a:t> </a:t>
            </a:r>
            <a:r>
              <a:rPr lang="da-DK" sz="1400" b="1" dirty="0">
                <a:solidFill>
                  <a:srgbClr val="00B0AD"/>
                </a:solidFill>
                <a:ea typeface="Arial Unicode MS"/>
                <a:cs typeface="+mn-lt"/>
              </a:rPr>
              <a:t>sikre, kontrollerede miljøer.</a:t>
            </a:r>
            <a:endParaRPr kumimoji="0" lang="da-DK" sz="1400" b="1" i="0" u="none" strike="noStrike" kern="1200" cap="none" spc="0" normalizeH="0" baseline="0" dirty="0">
              <a:ln>
                <a:noFill/>
              </a:ln>
              <a:solidFill>
                <a:srgbClr val="00B0AD"/>
              </a:solidFill>
              <a:effectLst/>
              <a:uLnTx/>
              <a:uFillTx/>
              <a:latin typeface="Arial"/>
              <a:ea typeface="Arial Unicode MS"/>
              <a:cs typeface="+mn-cs"/>
            </a:endParaRPr>
          </a:p>
          <a:p>
            <a:pPr>
              <a:tabLst>
                <a:tab pos="0" algn="l"/>
              </a:tabLst>
              <a:defRPr/>
            </a:pPr>
            <a:r>
              <a:rPr lang="da-DK" sz="1400" b="1" dirty="0">
                <a:latin typeface="Arial"/>
                <a:ea typeface="Arial Unicode MS"/>
                <a:cs typeface="Arial"/>
              </a:rPr>
              <a:t>"</a:t>
            </a:r>
            <a:r>
              <a:rPr lang="da-DK" sz="1400" b="1" dirty="0" err="1">
                <a:latin typeface="Arial"/>
                <a:ea typeface="Arial Unicode MS"/>
                <a:cs typeface="Arial"/>
              </a:rPr>
              <a:t>There</a:t>
            </a:r>
            <a:r>
              <a:rPr lang="da-DK" sz="1400" b="1" dirty="0">
                <a:latin typeface="Arial"/>
                <a:ea typeface="Arial Unicode MS"/>
                <a:cs typeface="Arial"/>
              </a:rPr>
              <a:t> is no </a:t>
            </a:r>
            <a:r>
              <a:rPr lang="da-DK" sz="1400" b="1" dirty="0" err="1">
                <a:latin typeface="Arial"/>
                <a:ea typeface="Arial Unicode MS"/>
                <a:cs typeface="Arial"/>
              </a:rPr>
              <a:t>respawn</a:t>
            </a:r>
            <a:r>
              <a:rPr lang="da-DK" sz="1400" b="1" dirty="0">
                <a:latin typeface="Arial"/>
                <a:ea typeface="Arial Unicode MS"/>
                <a:cs typeface="Arial"/>
              </a:rPr>
              <a:t> in real </a:t>
            </a:r>
            <a:r>
              <a:rPr lang="da-DK" sz="1400" b="1" dirty="0" err="1">
                <a:latin typeface="Arial"/>
                <a:ea typeface="Arial Unicode MS"/>
                <a:cs typeface="Arial"/>
              </a:rPr>
              <a:t>life</a:t>
            </a:r>
            <a:r>
              <a:rPr lang="da-DK" sz="1400" b="1" dirty="0">
                <a:latin typeface="Arial"/>
                <a:ea typeface="Arial Unicode MS"/>
                <a:cs typeface="Arial"/>
              </a:rPr>
              <a:t>"</a:t>
            </a:r>
          </a:p>
        </p:txBody>
      </p:sp>
      <p:sp>
        <p:nvSpPr>
          <p:cNvPr id="10" name="Textfeld 51">
            <a:extLst>
              <a:ext uri="{FF2B5EF4-FFF2-40B4-BE49-F238E27FC236}">
                <a16:creationId xmlns:a16="http://schemas.microsoft.com/office/drawing/2014/main" id="{6C697F5E-B624-A89F-2120-A253CA91CBBA}"/>
              </a:ext>
            </a:extLst>
          </p:cNvPr>
          <p:cNvSpPr txBox="1">
            <a:spLocks/>
          </p:cNvSpPr>
          <p:nvPr/>
        </p:nvSpPr>
        <p:spPr bwMode="gray">
          <a:xfrm>
            <a:off x="627063" y="1621328"/>
            <a:ext cx="2520000" cy="547707"/>
          </a:xfrm>
          <a:prstGeom prst="rect">
            <a:avLst/>
          </a:prstGeom>
          <a:noFill/>
          <a:ln>
            <a:solidFill>
              <a:srgbClr val="00B0AD"/>
            </a:solidFill>
          </a:ln>
        </p:spPr>
        <p:txBody>
          <a:bodyPr wrap="square" lIns="10800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0" algn="l"/>
              </a:tabLst>
              <a:defRPr/>
            </a:pPr>
            <a:r>
              <a:rPr lang="en-US" sz="1400" b="1" dirty="0" err="1">
                <a:latin typeface="Arial"/>
                <a:ea typeface="Arial Unicode MS"/>
              </a:rPr>
              <a:t>Sikkerhed</a:t>
            </a:r>
            <a:endParaRPr lang="en-US" sz="1400" b="1" dirty="0">
              <a:latin typeface="Arial"/>
              <a:ea typeface="Arial Unicode MS"/>
              <a:cs typeface="Arial"/>
            </a:endParaRPr>
          </a:p>
        </p:txBody>
      </p:sp>
      <p:cxnSp>
        <p:nvCxnSpPr>
          <p:cNvPr id="11" name="Gerader Verbinder 34">
            <a:extLst>
              <a:ext uri="{FF2B5EF4-FFF2-40B4-BE49-F238E27FC236}">
                <a16:creationId xmlns:a16="http://schemas.microsoft.com/office/drawing/2014/main" id="{277A3E28-5526-2906-7B40-EAC04B5639F4}"/>
              </a:ext>
            </a:extLst>
          </p:cNvPr>
          <p:cNvCxnSpPr>
            <a:cxnSpLocks/>
          </p:cNvCxnSpPr>
          <p:nvPr/>
        </p:nvCxnSpPr>
        <p:spPr>
          <a:xfrm>
            <a:off x="3358450" y="2792402"/>
            <a:ext cx="4749482" cy="0"/>
          </a:xfrm>
          <a:prstGeom prst="line">
            <a:avLst/>
          </a:prstGeom>
          <a:ln w="9525" cap="rnd">
            <a:solidFill>
              <a:srgbClr val="5A467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r Verbinder 39">
            <a:extLst>
              <a:ext uri="{FF2B5EF4-FFF2-40B4-BE49-F238E27FC236}">
                <a16:creationId xmlns:a16="http://schemas.microsoft.com/office/drawing/2014/main" id="{5F87C8A9-2D7A-4C7B-9D36-76C85476C9BE}"/>
              </a:ext>
            </a:extLst>
          </p:cNvPr>
          <p:cNvCxnSpPr>
            <a:cxnSpLocks/>
          </p:cNvCxnSpPr>
          <p:nvPr/>
        </p:nvCxnSpPr>
        <p:spPr>
          <a:xfrm>
            <a:off x="3356332" y="5710220"/>
            <a:ext cx="4749482" cy="0"/>
          </a:xfrm>
          <a:prstGeom prst="line">
            <a:avLst/>
          </a:prstGeom>
          <a:ln w="9525" cap="rnd">
            <a:solidFill>
              <a:srgbClr val="5A467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feld 3">
            <a:extLst>
              <a:ext uri="{FF2B5EF4-FFF2-40B4-BE49-F238E27FC236}">
                <a16:creationId xmlns:a16="http://schemas.microsoft.com/office/drawing/2014/main" id="{63539B71-DE3A-0EF7-F697-F5D16E2B3715}"/>
              </a:ext>
            </a:extLst>
          </p:cNvPr>
          <p:cNvSpPr txBox="1">
            <a:spLocks/>
          </p:cNvSpPr>
          <p:nvPr/>
        </p:nvSpPr>
        <p:spPr bwMode="gray">
          <a:xfrm>
            <a:off x="637645" y="2212561"/>
            <a:ext cx="2509418" cy="547707"/>
          </a:xfrm>
          <a:prstGeom prst="rect">
            <a:avLst/>
          </a:prstGeom>
          <a:noFill/>
          <a:ln>
            <a:solidFill>
              <a:srgbClr val="00B0AD"/>
            </a:solidFill>
          </a:ln>
        </p:spPr>
        <p:txBody>
          <a:bodyPr wrap="square" lIns="10800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0" algn="l"/>
              </a:tabLst>
              <a:defRPr/>
            </a:pPr>
            <a:r>
              <a:rPr lang="en-US" sz="1400" b="1" baseline="0" dirty="0" err="1">
                <a:latin typeface="Arial"/>
              </a:rPr>
              <a:t>Deltagelse</a:t>
            </a:r>
            <a:endParaRPr kumimoji="0" lang="en-US" sz="1400" b="1" i="0" u="none" strike="noStrike" kern="1200" cap="none" spc="0" normalizeH="0" baseline="0" dirty="0">
              <a:ln>
                <a:noFill/>
              </a:ln>
              <a:effectLst/>
              <a:uLnTx/>
              <a:uFillTx/>
              <a:latin typeface="Arial"/>
              <a:ea typeface="Arial Unicode MS"/>
              <a:cs typeface="+mn-cs"/>
            </a:endParaRPr>
          </a:p>
        </p:txBody>
      </p:sp>
      <p:cxnSp>
        <p:nvCxnSpPr>
          <p:cNvPr id="5" name="Gerader Verbinder 38">
            <a:extLst>
              <a:ext uri="{FF2B5EF4-FFF2-40B4-BE49-F238E27FC236}">
                <a16:creationId xmlns:a16="http://schemas.microsoft.com/office/drawing/2014/main" id="{A4179B53-162B-050E-527F-E442B7533BFA}"/>
              </a:ext>
            </a:extLst>
          </p:cNvPr>
          <p:cNvCxnSpPr>
            <a:cxnSpLocks/>
          </p:cNvCxnSpPr>
          <p:nvPr/>
        </p:nvCxnSpPr>
        <p:spPr>
          <a:xfrm>
            <a:off x="3390199" y="2177383"/>
            <a:ext cx="4749482" cy="0"/>
          </a:xfrm>
          <a:prstGeom prst="line">
            <a:avLst/>
          </a:prstGeom>
          <a:ln w="9525" cap="rnd">
            <a:solidFill>
              <a:srgbClr val="5A467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feld 51">
            <a:extLst>
              <a:ext uri="{FF2B5EF4-FFF2-40B4-BE49-F238E27FC236}">
                <a16:creationId xmlns:a16="http://schemas.microsoft.com/office/drawing/2014/main" id="{92EF983A-DF06-9C24-EB23-327237E0AAFC}"/>
              </a:ext>
            </a:extLst>
          </p:cNvPr>
          <p:cNvSpPr txBox="1"/>
          <p:nvPr/>
        </p:nvSpPr>
        <p:spPr bwMode="gray">
          <a:xfrm>
            <a:off x="3390198" y="2376634"/>
            <a:ext cx="7212016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0" algn="l"/>
              </a:tabLst>
              <a:defRPr/>
            </a:pPr>
            <a:r>
              <a:rPr lang="da-DK" sz="1400" dirty="0">
                <a:latin typeface="Arial"/>
                <a:ea typeface="Arial Unicode MS"/>
              </a:rPr>
              <a:t>Øger</a:t>
            </a:r>
            <a:r>
              <a:rPr kumimoji="0" lang="da-DK" sz="1400" b="1" i="0" u="none" strike="noStrike" kern="1200" cap="none" spc="0" normalizeH="0" baseline="0" dirty="0">
                <a:ln>
                  <a:noFill/>
                </a:ln>
                <a:solidFill>
                  <a:srgbClr val="00B0AD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 deltagelsesniveauet </a:t>
            </a:r>
            <a:r>
              <a:rPr kumimoji="0" lang="da-DK" sz="1400" i="0" u="none" strike="noStrike" kern="1200" cap="none" spc="0" normalizeH="0" baseline="0" dirty="0">
                <a:ln>
                  <a:noFill/>
                </a:ln>
                <a:effectLst/>
                <a:uLnTx/>
                <a:uFillTx/>
                <a:latin typeface="Arial"/>
                <a:ea typeface="Arial Unicode MS"/>
                <a:cs typeface="+mn-cs"/>
              </a:rPr>
              <a:t>ved at eliminere flaskehalse på praktiske </a:t>
            </a:r>
            <a:r>
              <a:rPr kumimoji="0" lang="da-DK" sz="1400" i="0" u="none" strike="noStrike" kern="1200" cap="none" spc="0" normalizeH="0" baseline="0" dirty="0" err="1">
                <a:ln>
                  <a:noFill/>
                </a:ln>
                <a:effectLst/>
                <a:uLnTx/>
                <a:uFillTx/>
                <a:latin typeface="Arial"/>
                <a:ea typeface="Arial Unicode MS"/>
                <a:cs typeface="+mn-cs"/>
              </a:rPr>
              <a:t>hands-on</a:t>
            </a:r>
            <a:r>
              <a:rPr kumimoji="0" lang="da-DK" sz="1400" i="0" u="none" strike="noStrike" kern="1200" cap="none" spc="0" normalizeH="0" baseline="0" dirty="0">
                <a:ln>
                  <a:noFill/>
                </a:ln>
                <a:effectLst/>
                <a:uLnTx/>
                <a:uFillTx/>
                <a:latin typeface="Arial"/>
                <a:ea typeface="Arial Unicode MS"/>
                <a:cs typeface="+mn-cs"/>
              </a:rPr>
              <a:t> øvelser. </a:t>
            </a:r>
            <a:endParaRPr kumimoji="0" lang="da-DK" sz="1400" i="0" u="none" strike="noStrike" kern="1200" cap="none" spc="0" normalizeH="0" baseline="0" dirty="0">
              <a:ln>
                <a:noFill/>
              </a:ln>
              <a:effectLst/>
              <a:highlight>
                <a:srgbClr val="FF0000"/>
              </a:highlight>
              <a:uLnTx/>
              <a:uFillTx/>
              <a:latin typeface="Arial"/>
              <a:ea typeface="Arial Unicode MS"/>
            </a:endParaRPr>
          </a:p>
        </p:txBody>
      </p:sp>
      <p:sp>
        <p:nvSpPr>
          <p:cNvPr id="13" name="Textfeld 51">
            <a:extLst>
              <a:ext uri="{FF2B5EF4-FFF2-40B4-BE49-F238E27FC236}">
                <a16:creationId xmlns:a16="http://schemas.microsoft.com/office/drawing/2014/main" id="{66C3A8CF-3837-F226-B844-B400F984C619}"/>
              </a:ext>
            </a:extLst>
          </p:cNvPr>
          <p:cNvSpPr txBox="1"/>
          <p:nvPr/>
        </p:nvSpPr>
        <p:spPr bwMode="gray">
          <a:xfrm>
            <a:off x="3356332" y="5192463"/>
            <a:ext cx="5686491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0" algn="l"/>
              </a:tabLst>
              <a:defRPr/>
            </a:pPr>
            <a:r>
              <a:rPr kumimoji="0" lang="da-DK" sz="1400" i="0" u="none" strike="noStrike" kern="1200" cap="none" spc="0" normalizeH="0" baseline="0" dirty="0">
                <a:ln>
                  <a:noFill/>
                </a:ln>
                <a:effectLst/>
                <a:uLnTx/>
                <a:uFillTx/>
                <a:latin typeface="Arial"/>
                <a:ea typeface="Arial Unicode MS"/>
                <a:cs typeface="+mn-cs"/>
              </a:rPr>
              <a:t>Udvikling og levering af platformspecifik træning i </a:t>
            </a:r>
            <a:r>
              <a:rPr kumimoji="0" lang="da-DK" sz="1400" b="1" i="0" u="none" strike="noStrike" kern="1200" cap="none" spc="0" normalizeH="0" baseline="0" dirty="0">
                <a:ln>
                  <a:noFill/>
                </a:ln>
                <a:solidFill>
                  <a:srgbClr val="00B0AD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VR er signifikant billigere</a:t>
            </a:r>
            <a:r>
              <a:rPr kumimoji="0" lang="da-DK" sz="1400" b="1" i="0" u="none" strike="noStrike" kern="1200" cap="none" spc="0" normalizeH="0" baseline="0" dirty="0">
                <a:ln>
                  <a:noFill/>
                </a:ln>
                <a:effectLst/>
                <a:uLnTx/>
                <a:uFillTx/>
                <a:latin typeface="Arial"/>
                <a:ea typeface="Arial Unicode MS"/>
                <a:cs typeface="+mn-cs"/>
              </a:rPr>
              <a:t> </a:t>
            </a:r>
            <a:r>
              <a:rPr kumimoji="0" lang="da-DK" sz="1400" i="0" u="none" strike="noStrike" kern="1200" cap="none" spc="0" normalizeH="0" baseline="0" dirty="0">
                <a:ln>
                  <a:noFill/>
                </a:ln>
                <a:effectLst/>
                <a:uLnTx/>
                <a:uFillTx/>
                <a:latin typeface="Arial"/>
                <a:ea typeface="Arial Unicode MS"/>
                <a:cs typeface="+mn-cs"/>
              </a:rPr>
              <a:t>end traditionel </a:t>
            </a:r>
            <a:r>
              <a:rPr kumimoji="0" lang="da-DK" sz="1400" i="0" u="none" strike="noStrike" kern="1200" cap="none" spc="0" normalizeH="0" baseline="0" dirty="0" err="1">
                <a:ln>
                  <a:noFill/>
                </a:ln>
                <a:effectLst/>
                <a:uLnTx/>
                <a:uFillTx/>
                <a:latin typeface="Arial"/>
                <a:ea typeface="Arial Unicode MS"/>
                <a:cs typeface="+mn-cs"/>
              </a:rPr>
              <a:t>nacelle</a:t>
            </a:r>
            <a:r>
              <a:rPr kumimoji="0" lang="da-DK" sz="1400" i="0" u="none" strike="noStrike" kern="1200" cap="none" spc="0" normalizeH="0" baseline="0" dirty="0">
                <a:ln>
                  <a:noFill/>
                </a:ln>
                <a:effectLst/>
                <a:uLnTx/>
                <a:uFillTx/>
                <a:latin typeface="Arial"/>
                <a:ea typeface="Arial Unicode MS"/>
                <a:cs typeface="+mn-cs"/>
              </a:rPr>
              <a:t>-baseret undervisning</a:t>
            </a:r>
            <a:endParaRPr kumimoji="0" lang="en-US" sz="1400" i="0" u="none" strike="noStrike" kern="1200" cap="none" spc="0" normalizeH="0" dirty="0">
              <a:ln>
                <a:noFill/>
              </a:ln>
              <a:effectLst/>
              <a:uLnTx/>
              <a:uFillTx/>
              <a:latin typeface="Arial"/>
              <a:ea typeface="Arial Unicode MS"/>
              <a:cs typeface="+mn-cs"/>
            </a:endParaRPr>
          </a:p>
        </p:txBody>
      </p:sp>
      <p:sp>
        <p:nvSpPr>
          <p:cNvPr id="30" name="Textfeld 51">
            <a:extLst>
              <a:ext uri="{FF2B5EF4-FFF2-40B4-BE49-F238E27FC236}">
                <a16:creationId xmlns:a16="http://schemas.microsoft.com/office/drawing/2014/main" id="{06632988-8DDD-A862-7A2F-BD7F5B1F57DB}"/>
              </a:ext>
            </a:extLst>
          </p:cNvPr>
          <p:cNvSpPr txBox="1"/>
          <p:nvPr/>
        </p:nvSpPr>
        <p:spPr bwMode="gray">
          <a:xfrm>
            <a:off x="3358449" y="2939443"/>
            <a:ext cx="7212016" cy="21544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0" algn="l"/>
              </a:tabLst>
              <a:defRPr/>
            </a:pPr>
            <a:r>
              <a:rPr lang="da-DK" sz="1400" dirty="0">
                <a:latin typeface="Arial"/>
                <a:ea typeface="Arial Unicode MS"/>
              </a:rPr>
              <a:t>VR tillader at kursisten ser ting, der ellers </a:t>
            </a:r>
            <a:r>
              <a:rPr lang="da-DK" sz="1400" b="1" dirty="0">
                <a:solidFill>
                  <a:srgbClr val="00B0AD"/>
                </a:solidFill>
                <a:latin typeface="Arial"/>
                <a:ea typeface="Arial Unicode MS"/>
              </a:rPr>
              <a:t>ikke kan lade sig gøre i virkeligheden</a:t>
            </a:r>
            <a:endParaRPr kumimoji="0" lang="da-DK" sz="1400" i="0" u="none" strike="noStrike" kern="1200" cap="none" spc="0" normalizeH="0" baseline="0" dirty="0">
              <a:ln>
                <a:noFill/>
              </a:ln>
              <a:effectLst/>
              <a:highlight>
                <a:srgbClr val="FF0000"/>
              </a:highlight>
              <a:uLnTx/>
              <a:uFillTx/>
              <a:latin typeface="Arial"/>
              <a:ea typeface="Arial Unicode MS"/>
            </a:endParaRPr>
          </a:p>
        </p:txBody>
      </p:sp>
    </p:spTree>
    <p:extLst>
      <p:ext uri="{BB962C8B-B14F-4D97-AF65-F5344CB8AC3E}">
        <p14:creationId xmlns:p14="http://schemas.microsoft.com/office/powerpoint/2010/main" val="22196397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/>
      <p:bldP spid="32" grpId="0"/>
      <p:bldP spid="33" grpId="0"/>
      <p:bldP spid="19" grpId="0" animBg="1"/>
      <p:bldP spid="20" grpId="0" animBg="1"/>
      <p:bldP spid="22" grpId="0" animBg="1"/>
      <p:bldP spid="23" grpId="0" animBg="1"/>
      <p:bldP spid="24" grpId="0" animBg="1"/>
      <p:bldP spid="9" grpId="0"/>
      <p:bldP spid="10" grpId="0" animBg="1"/>
      <p:bldP spid="3" grpId="0" animBg="1"/>
      <p:bldP spid="8" grpId="0"/>
      <p:bldP spid="13" grpId="0"/>
      <p:bldP spid="30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255EADAB-9B2C-B1B9-4CB0-B460304C9F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31732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55EADAB-9B2C-B1B9-4CB0-B460304C9F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2">
            <a:extLst>
              <a:ext uri="{FF2B5EF4-FFF2-40B4-BE49-F238E27FC236}">
                <a16:creationId xmlns:a16="http://schemas.microsoft.com/office/drawing/2014/main" id="{AB322B65-C2F6-D7D2-60C1-B499F92DC8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52033" y="1093377"/>
            <a:ext cx="4300114" cy="5207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4257AD6-804A-B243-EEE5-206023A338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"/>
            <a:ext cx="10325509" cy="1414800"/>
          </a:xfrm>
        </p:spPr>
        <p:txBody>
          <a:bodyPr vert="horz"/>
          <a:lstStyle/>
          <a:p>
            <a:r>
              <a:rPr lang="de-DE" dirty="0" err="1"/>
              <a:t>Størrelsen</a:t>
            </a:r>
            <a:r>
              <a:rPr lang="de-DE" dirty="0"/>
              <a:t> </a:t>
            </a:r>
            <a:r>
              <a:rPr lang="de-DE" dirty="0" err="1"/>
              <a:t>på</a:t>
            </a:r>
            <a:r>
              <a:rPr lang="de-DE" dirty="0"/>
              <a:t> den </a:t>
            </a:r>
            <a:r>
              <a:rPr lang="de-DE" dirty="0" err="1"/>
              <a:t>nye</a:t>
            </a:r>
            <a:r>
              <a:rPr lang="de-DE" dirty="0"/>
              <a:t> Siemens </a:t>
            </a:r>
            <a:r>
              <a:rPr lang="de-DE" dirty="0" err="1"/>
              <a:t>Gamesa</a:t>
            </a:r>
            <a:r>
              <a:rPr lang="de-DE" dirty="0"/>
              <a:t> </a:t>
            </a:r>
            <a:r>
              <a:rPr lang="de-DE" dirty="0" err="1"/>
              <a:t>vindmølle</a:t>
            </a:r>
            <a:r>
              <a:rPr lang="de-DE" dirty="0"/>
              <a:t> </a:t>
            </a:r>
            <a:br>
              <a:rPr lang="de-DE" dirty="0"/>
            </a:br>
            <a:endParaRPr lang="de-DE" b="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D96B811-0467-73E8-3AEA-557E985055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Siemens Gamesa Renewable Energy, 2025 | Sami El-Daoud</a:t>
            </a:r>
            <a:endParaRPr lang="en-GB" dirty="0"/>
          </a:p>
        </p:txBody>
      </p:sp>
      <p:pic>
        <p:nvPicPr>
          <p:cNvPr id="1026" name="Picture 2" descr="Meta Quest 3 | Qualcomm">
            <a:extLst>
              <a:ext uri="{FF2B5EF4-FFF2-40B4-BE49-F238E27FC236}">
                <a16:creationId xmlns:a16="http://schemas.microsoft.com/office/drawing/2014/main" id="{64C3BC9D-268A-71A6-71E7-C00FD3824D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08732" y="2350874"/>
            <a:ext cx="3207728" cy="22675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Banana for Scale by Andrew Hynes">
            <a:extLst>
              <a:ext uri="{FF2B5EF4-FFF2-40B4-BE49-F238E27FC236}">
                <a16:creationId xmlns:a16="http://schemas.microsoft.com/office/drawing/2014/main" id="{4BA94173-93DD-BCAE-6489-B5D36C2190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54062" y="3659033"/>
            <a:ext cx="1660885" cy="12757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Banana for Scale by Andrew Hynes">
            <a:extLst>
              <a:ext uri="{FF2B5EF4-FFF2-40B4-BE49-F238E27FC236}">
                <a16:creationId xmlns:a16="http://schemas.microsoft.com/office/drawing/2014/main" id="{E0AE147D-8C3D-4517-B6EA-C4854E351A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5403131" y="5802986"/>
            <a:ext cx="59522" cy="457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358066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D07FA8C-5C80-70B6-1294-A9D1850507E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51112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D07FA8C-5C80-70B6-1294-A9D1850507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: abgerundete Ecken 15">
            <a:extLst>
              <a:ext uri="{FF2B5EF4-FFF2-40B4-BE49-F238E27FC236}">
                <a16:creationId xmlns:a16="http://schemas.microsoft.com/office/drawing/2014/main" id="{8B2A3CA2-FEFA-F35D-B77F-D75BBCA323A8}"/>
              </a:ext>
            </a:extLst>
          </p:cNvPr>
          <p:cNvSpPr>
            <a:spLocks/>
          </p:cNvSpPr>
          <p:nvPr/>
        </p:nvSpPr>
        <p:spPr>
          <a:xfrm>
            <a:off x="4113061" y="5181083"/>
            <a:ext cx="6147704" cy="567811"/>
          </a:xfrm>
          <a:prstGeom prst="roundRect">
            <a:avLst>
              <a:gd name="adj" fmla="val 50000"/>
            </a:avLst>
          </a:prstGeom>
          <a:solidFill>
            <a:srgbClr val="5A46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ctr">
            <a:noAutofit/>
          </a:bodyPr>
          <a:lstStyle/>
          <a:p>
            <a:pPr algn="l"/>
            <a:r>
              <a:rPr lang="en-US" sz="1400" dirty="0" err="1">
                <a:solidFill>
                  <a:schemeClr val="tx1"/>
                </a:solidFill>
              </a:rPr>
              <a:t>Integreret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  <a:r>
              <a:rPr lang="en-US" sz="1400" dirty="0" err="1">
                <a:solidFill>
                  <a:schemeClr val="tx1"/>
                </a:solidFill>
              </a:rPr>
              <a:t>logistisk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  <a:r>
              <a:rPr lang="en-US" sz="1400" dirty="0" err="1">
                <a:solidFill>
                  <a:schemeClr val="tx1"/>
                </a:solidFill>
              </a:rPr>
              <a:t>løsning</a:t>
            </a:r>
            <a:r>
              <a:rPr lang="en-US" sz="1400" dirty="0">
                <a:solidFill>
                  <a:schemeClr val="tx1"/>
                </a:solidFill>
              </a:rPr>
              <a:t> der </a:t>
            </a:r>
            <a:r>
              <a:rPr lang="en-US" sz="1400" dirty="0" err="1">
                <a:solidFill>
                  <a:schemeClr val="tx1"/>
                </a:solidFill>
              </a:rPr>
              <a:t>håndterer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  <a:r>
              <a:rPr lang="en-US" sz="1400" dirty="0" err="1">
                <a:solidFill>
                  <a:schemeClr val="tx1"/>
                </a:solidFill>
              </a:rPr>
              <a:t>forberedelse</a:t>
            </a:r>
            <a:r>
              <a:rPr lang="en-US" sz="1400" dirty="0">
                <a:solidFill>
                  <a:schemeClr val="tx1"/>
                </a:solidFill>
              </a:rPr>
              <a:t>, </a:t>
            </a:r>
            <a:r>
              <a:rPr lang="en-US" sz="1400" dirty="0" err="1">
                <a:solidFill>
                  <a:schemeClr val="tx1"/>
                </a:solidFill>
              </a:rPr>
              <a:t>forsendelse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  <a:r>
              <a:rPr lang="en-US" sz="1400" dirty="0" err="1">
                <a:solidFill>
                  <a:schemeClr val="tx1"/>
                </a:solidFill>
              </a:rPr>
              <a:t>og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  <a:r>
              <a:rPr lang="en-US" sz="1400" dirty="0" err="1">
                <a:solidFill>
                  <a:schemeClr val="tx1"/>
                </a:solidFill>
              </a:rPr>
              <a:t>modtagelse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  <a:r>
              <a:rPr lang="en-US" sz="1400" dirty="0" err="1">
                <a:solidFill>
                  <a:schemeClr val="tx1"/>
                </a:solidFill>
              </a:rPr>
              <a:t>af</a:t>
            </a:r>
            <a:r>
              <a:rPr lang="en-US" sz="1400" dirty="0">
                <a:solidFill>
                  <a:schemeClr val="tx1"/>
                </a:solidFill>
              </a:rPr>
              <a:t> VR </a:t>
            </a:r>
            <a:r>
              <a:rPr lang="en-US" sz="1400" dirty="0" err="1">
                <a:solidFill>
                  <a:schemeClr val="tx1"/>
                </a:solidFill>
              </a:rPr>
              <a:t>briller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9E23F2-3FD0-2FF1-D6B1-707861013C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VR highlight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5C4BF6B-E90B-F12E-247C-C8E9DADFB8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Siemens Gamesa Renewable Energy, 2025 | Sami El-Daoud</a:t>
            </a:r>
            <a:endParaRPr lang="en-GB" dirty="0"/>
          </a:p>
        </p:txBody>
      </p:sp>
      <p:sp>
        <p:nvSpPr>
          <p:cNvPr id="32" name="Datumsplatzhalter 31">
            <a:extLst>
              <a:ext uri="{FF2B5EF4-FFF2-40B4-BE49-F238E27FC236}">
                <a16:creationId xmlns:a16="http://schemas.microsoft.com/office/drawing/2014/main" id="{2085BDF3-4FE2-92CF-503C-FF1AA8ED8E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8B6EE6-C77D-4608-9474-1B624D5B7FFC}" type="datetime1">
              <a:rPr lang="en-US" smtClean="0"/>
              <a:t>2/6/2025</a:t>
            </a:fld>
            <a:endParaRPr lang="en-US"/>
          </a:p>
        </p:txBody>
      </p:sp>
      <p:sp>
        <p:nvSpPr>
          <p:cNvPr id="33" name="Foliennummernplatzhalter 32">
            <a:extLst>
              <a:ext uri="{FF2B5EF4-FFF2-40B4-BE49-F238E27FC236}">
                <a16:creationId xmlns:a16="http://schemas.microsoft.com/office/drawing/2014/main" id="{19A8DA88-571F-471D-1F5A-D1A93A4650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B0116A-0D09-4E99-8C69-B4C15A5D8A2B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4" name="Ellipse 3">
            <a:extLst>
              <a:ext uri="{FF2B5EF4-FFF2-40B4-BE49-F238E27FC236}">
                <a16:creationId xmlns:a16="http://schemas.microsoft.com/office/drawing/2014/main" id="{D90CA598-1386-36FC-805E-8C8DB59E37EF}"/>
              </a:ext>
            </a:extLst>
          </p:cNvPr>
          <p:cNvSpPr>
            <a:spLocks/>
          </p:cNvSpPr>
          <p:nvPr/>
        </p:nvSpPr>
        <p:spPr>
          <a:xfrm>
            <a:off x="-763459" y="1698815"/>
            <a:ext cx="4186989" cy="4186989"/>
          </a:xfrm>
          <a:prstGeom prst="ellipse">
            <a:avLst/>
          </a:prstGeom>
          <a:noFill/>
          <a:ln w="12700" cap="flat" cmpd="sng" algn="ctr">
            <a:solidFill>
              <a:srgbClr val="5A4673"/>
            </a:solidFill>
            <a:prstDash val="solid"/>
            <a:miter lim="800000"/>
          </a:ln>
          <a:effectLst/>
        </p:spPr>
        <p:txBody>
          <a:bodyPr lIns="108000" tIns="72000" rIns="108000" bIns="72000" rtlCol="0" anchor="ctr" anchorCtr="0"/>
          <a:lstStyle/>
          <a:p>
            <a:pPr algn="ctr">
              <a:lnSpc>
                <a:spcPct val="110000"/>
              </a:lnSpc>
              <a:spcBef>
                <a:spcPct val="0"/>
              </a:spcBef>
              <a:buClr>
                <a:srgbClr val="009999"/>
              </a:buClr>
            </a:pPr>
            <a:endParaRPr lang="en-US" sz="2800" kern="0">
              <a:solidFill>
                <a:srgbClr val="00C1B6"/>
              </a:solidFill>
              <a:latin typeface="Arial"/>
            </a:endParaRPr>
          </a:p>
        </p:txBody>
      </p:sp>
      <p:cxnSp>
        <p:nvCxnSpPr>
          <p:cNvPr id="5" name="Gerader Verbinder 4">
            <a:extLst>
              <a:ext uri="{FF2B5EF4-FFF2-40B4-BE49-F238E27FC236}">
                <a16:creationId xmlns:a16="http://schemas.microsoft.com/office/drawing/2014/main" id="{4B721A2A-D2BA-F332-5E45-EF972A692213}"/>
              </a:ext>
            </a:extLst>
          </p:cNvPr>
          <p:cNvCxnSpPr>
            <a:cxnSpLocks/>
          </p:cNvCxnSpPr>
          <p:nvPr/>
        </p:nvCxnSpPr>
        <p:spPr>
          <a:xfrm flipV="1">
            <a:off x="2596861" y="2119633"/>
            <a:ext cx="2959100" cy="0"/>
          </a:xfrm>
          <a:prstGeom prst="line">
            <a:avLst/>
          </a:prstGeom>
          <a:noFill/>
          <a:ln w="12700" cap="flat" cmpd="sng" algn="ctr">
            <a:solidFill>
              <a:srgbClr val="5A4673"/>
            </a:solidFill>
            <a:prstDash val="solid"/>
            <a:miter lim="800000"/>
          </a:ln>
          <a:effectLst/>
        </p:spPr>
      </p:cxn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3EEE2FAF-E0BE-A584-578F-46DEFC78AAC3}"/>
              </a:ext>
            </a:extLst>
          </p:cNvPr>
          <p:cNvCxnSpPr>
            <a:cxnSpLocks/>
          </p:cNvCxnSpPr>
          <p:nvPr/>
        </p:nvCxnSpPr>
        <p:spPr>
          <a:xfrm>
            <a:off x="3220749" y="2955971"/>
            <a:ext cx="2335212" cy="0"/>
          </a:xfrm>
          <a:prstGeom prst="line">
            <a:avLst/>
          </a:prstGeom>
          <a:noFill/>
          <a:ln w="12700" cap="flat" cmpd="sng" algn="ctr">
            <a:solidFill>
              <a:srgbClr val="5A4673"/>
            </a:solidFill>
            <a:prstDash val="solid"/>
            <a:miter lim="800000"/>
          </a:ln>
          <a:effectLst/>
        </p:spPr>
      </p:cxn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D79BC7BB-7922-CE8C-81FC-3465594D2CAF}"/>
              </a:ext>
            </a:extLst>
          </p:cNvPr>
          <p:cNvCxnSpPr>
            <a:cxnSpLocks/>
          </p:cNvCxnSpPr>
          <p:nvPr/>
        </p:nvCxnSpPr>
        <p:spPr>
          <a:xfrm>
            <a:off x="3463107" y="3792310"/>
            <a:ext cx="2092854" cy="0"/>
          </a:xfrm>
          <a:prstGeom prst="line">
            <a:avLst/>
          </a:prstGeom>
          <a:noFill/>
          <a:ln w="12700" cap="flat" cmpd="sng" algn="ctr">
            <a:solidFill>
              <a:srgbClr val="5A4673"/>
            </a:solidFill>
            <a:prstDash val="solid"/>
            <a:miter lim="800000"/>
          </a:ln>
          <a:effectLst/>
        </p:spPr>
      </p:cxn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B6AADC3E-98EA-4608-54BB-84862C226381}"/>
              </a:ext>
            </a:extLst>
          </p:cNvPr>
          <p:cNvCxnSpPr>
            <a:cxnSpLocks/>
          </p:cNvCxnSpPr>
          <p:nvPr/>
        </p:nvCxnSpPr>
        <p:spPr>
          <a:xfrm>
            <a:off x="2598205" y="5464988"/>
            <a:ext cx="1516200" cy="1"/>
          </a:xfrm>
          <a:prstGeom prst="line">
            <a:avLst/>
          </a:prstGeom>
          <a:noFill/>
          <a:ln w="12700" cap="flat" cmpd="sng" algn="ctr">
            <a:solidFill>
              <a:srgbClr val="5A4673"/>
            </a:solidFill>
            <a:prstDash val="solid"/>
            <a:miter lim="800000"/>
          </a:ln>
          <a:effectLst/>
        </p:spPr>
      </p:cxn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F15ED771-F8B8-C17E-6292-6DF2CF79BF98}"/>
              </a:ext>
            </a:extLst>
          </p:cNvPr>
          <p:cNvCxnSpPr>
            <a:cxnSpLocks/>
          </p:cNvCxnSpPr>
          <p:nvPr/>
        </p:nvCxnSpPr>
        <p:spPr>
          <a:xfrm>
            <a:off x="3220749" y="4628650"/>
            <a:ext cx="2335212" cy="0"/>
          </a:xfrm>
          <a:prstGeom prst="line">
            <a:avLst/>
          </a:prstGeom>
          <a:noFill/>
          <a:ln w="12700" cap="flat" cmpd="sng" algn="ctr">
            <a:solidFill>
              <a:srgbClr val="5A4673"/>
            </a:solidFill>
            <a:prstDash val="solid"/>
            <a:miter lim="800000"/>
          </a:ln>
          <a:effectLst/>
        </p:spPr>
      </p:cxnSp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24153302-8ADC-C47D-F011-85438C9C0AE9}"/>
              </a:ext>
            </a:extLst>
          </p:cNvPr>
          <p:cNvSpPr>
            <a:spLocks/>
          </p:cNvSpPr>
          <p:nvPr/>
        </p:nvSpPr>
        <p:spPr>
          <a:xfrm>
            <a:off x="4113061" y="4344744"/>
            <a:ext cx="6147704" cy="567811"/>
          </a:xfrm>
          <a:prstGeom prst="roundRect">
            <a:avLst>
              <a:gd name="adj" fmla="val 50000"/>
            </a:avLst>
          </a:prstGeom>
          <a:solidFill>
            <a:srgbClr val="5A46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ctr">
            <a:noAutofit/>
          </a:bodyPr>
          <a:lstStyle/>
          <a:p>
            <a:r>
              <a:rPr lang="da-DK" sz="1400" dirty="0"/>
              <a:t>VR-platformen giver brugere mulighed for at forbinde fra forskellige lokationer</a:t>
            </a:r>
          </a:p>
        </p:txBody>
      </p:sp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A8D440C2-3E84-4FCE-0308-F7F6C6821A5C}"/>
              </a:ext>
            </a:extLst>
          </p:cNvPr>
          <p:cNvSpPr>
            <a:spLocks/>
          </p:cNvSpPr>
          <p:nvPr/>
        </p:nvSpPr>
        <p:spPr>
          <a:xfrm>
            <a:off x="4113061" y="3508405"/>
            <a:ext cx="6147704" cy="567811"/>
          </a:xfrm>
          <a:prstGeom prst="roundRect">
            <a:avLst>
              <a:gd name="adj" fmla="val 50000"/>
            </a:avLst>
          </a:prstGeom>
          <a:solidFill>
            <a:srgbClr val="5A46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ctr">
            <a:noAutofit/>
          </a:bodyPr>
          <a:lstStyle/>
          <a:p>
            <a:r>
              <a:rPr lang="en-US" sz="1400" dirty="0" err="1"/>
              <a:t>Træning</a:t>
            </a:r>
            <a:r>
              <a:rPr lang="en-US" sz="1400" dirty="0"/>
              <a:t> er </a:t>
            </a:r>
            <a:r>
              <a:rPr lang="en-US" sz="1400" dirty="0" err="1"/>
              <a:t>designet</a:t>
            </a:r>
            <a:r>
              <a:rPr lang="en-US" sz="1400" dirty="0"/>
              <a:t> </a:t>
            </a:r>
            <a:r>
              <a:rPr lang="en-US" sz="1400" dirty="0" err="1"/>
              <a:t>til</a:t>
            </a:r>
            <a:r>
              <a:rPr lang="en-US" sz="1400" dirty="0"/>
              <a:t> </a:t>
            </a:r>
            <a:r>
              <a:rPr lang="en-US" sz="1400" dirty="0" err="1"/>
              <a:t>både</a:t>
            </a:r>
            <a:r>
              <a:rPr lang="en-US" sz="1400" dirty="0"/>
              <a:t> </a:t>
            </a:r>
            <a:r>
              <a:rPr lang="en-US" sz="1400" dirty="0" err="1"/>
              <a:t>teknikkere</a:t>
            </a:r>
            <a:r>
              <a:rPr lang="en-US" sz="1400" dirty="0"/>
              <a:t> </a:t>
            </a:r>
            <a:r>
              <a:rPr lang="en-US" sz="1400" dirty="0" err="1"/>
              <a:t>i</a:t>
            </a:r>
            <a:r>
              <a:rPr lang="en-US" sz="1400" dirty="0"/>
              <a:t> </a:t>
            </a:r>
            <a:r>
              <a:rPr lang="en-US" sz="1400" dirty="0" err="1"/>
              <a:t>felten</a:t>
            </a:r>
            <a:r>
              <a:rPr lang="en-US" sz="1400" dirty="0"/>
              <a:t> </a:t>
            </a:r>
            <a:r>
              <a:rPr lang="en-US" sz="1400" dirty="0" err="1"/>
              <a:t>samt</a:t>
            </a:r>
            <a:r>
              <a:rPr lang="en-US" sz="1400" dirty="0"/>
              <a:t> back-office </a:t>
            </a:r>
            <a:r>
              <a:rPr lang="en-US" sz="1400" dirty="0" err="1"/>
              <a:t>funktioner</a:t>
            </a:r>
            <a:endParaRPr lang="en-US" sz="1400" dirty="0"/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FA4B3D9D-2673-C6B5-B603-5A9AC5813DD4}"/>
              </a:ext>
            </a:extLst>
          </p:cNvPr>
          <p:cNvSpPr>
            <a:spLocks/>
          </p:cNvSpPr>
          <p:nvPr/>
        </p:nvSpPr>
        <p:spPr>
          <a:xfrm>
            <a:off x="4113061" y="2672066"/>
            <a:ext cx="6147706" cy="567811"/>
          </a:xfrm>
          <a:prstGeom prst="roundRect">
            <a:avLst>
              <a:gd name="adj" fmla="val 50000"/>
            </a:avLst>
          </a:prstGeom>
          <a:solidFill>
            <a:srgbClr val="5A46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ctr">
            <a:noAutofit/>
          </a:bodyPr>
          <a:lstStyle/>
          <a:p>
            <a:r>
              <a:rPr lang="en-US" sz="1400" dirty="0"/>
              <a:t>Design for </a:t>
            </a:r>
            <a:r>
              <a:rPr lang="en-US" sz="1400" dirty="0" err="1"/>
              <a:t>teknikkerens</a:t>
            </a:r>
            <a:r>
              <a:rPr lang="en-US" sz="1400" dirty="0"/>
              <a:t> </a:t>
            </a:r>
            <a:r>
              <a:rPr lang="en-US" sz="1400" dirty="0" err="1"/>
              <a:t>læringsrejse</a:t>
            </a:r>
            <a:r>
              <a:rPr lang="en-US" sz="1400" dirty="0"/>
              <a:t> </a:t>
            </a:r>
            <a:r>
              <a:rPr lang="en-US" sz="1400" dirty="0" err="1"/>
              <a:t>inkluderer</a:t>
            </a:r>
            <a:r>
              <a:rPr lang="en-US" sz="1400" dirty="0"/>
              <a:t> OJT </a:t>
            </a:r>
            <a:r>
              <a:rPr lang="en-US" sz="1400" dirty="0" err="1"/>
              <a:t>og</a:t>
            </a:r>
            <a:r>
              <a:rPr lang="en-US" sz="1400" dirty="0"/>
              <a:t> </a:t>
            </a:r>
            <a:r>
              <a:rPr lang="en-US" sz="1400" dirty="0" err="1"/>
              <a:t>evaluering</a:t>
            </a:r>
            <a:r>
              <a:rPr lang="en-US" sz="1400" dirty="0"/>
              <a:t>, da vi </a:t>
            </a:r>
            <a:r>
              <a:rPr lang="en-US" sz="1400" dirty="0" err="1"/>
              <a:t>anerkender</a:t>
            </a:r>
            <a:r>
              <a:rPr lang="en-US" sz="1400" dirty="0"/>
              <a:t> VR </a:t>
            </a:r>
            <a:r>
              <a:rPr lang="en-US" sz="1400" dirty="0" err="1"/>
              <a:t>begrænsninger</a:t>
            </a:r>
            <a:endParaRPr lang="en-US" sz="1400" dirty="0"/>
          </a:p>
        </p:txBody>
      </p:sp>
      <p:sp>
        <p:nvSpPr>
          <p:cNvPr id="15" name="Rechteck: abgerundete Ecken 14">
            <a:extLst>
              <a:ext uri="{FF2B5EF4-FFF2-40B4-BE49-F238E27FC236}">
                <a16:creationId xmlns:a16="http://schemas.microsoft.com/office/drawing/2014/main" id="{2432A0C7-8CA0-2AC7-CB7F-1ABB42E45513}"/>
              </a:ext>
            </a:extLst>
          </p:cNvPr>
          <p:cNvSpPr>
            <a:spLocks/>
          </p:cNvSpPr>
          <p:nvPr/>
        </p:nvSpPr>
        <p:spPr>
          <a:xfrm>
            <a:off x="4113060" y="1835727"/>
            <a:ext cx="6147705" cy="567811"/>
          </a:xfrm>
          <a:prstGeom prst="roundRect">
            <a:avLst>
              <a:gd name="adj" fmla="val 50000"/>
            </a:avLst>
          </a:prstGeom>
          <a:solidFill>
            <a:srgbClr val="5A46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ctr">
            <a:noAutofit/>
          </a:bodyPr>
          <a:lstStyle/>
          <a:p>
            <a:r>
              <a:rPr lang="en-US" sz="1400" dirty="0" err="1"/>
              <a:t>Hovedfokus</a:t>
            </a:r>
            <a:r>
              <a:rPr lang="en-US" sz="1400" dirty="0"/>
              <a:t> for </a:t>
            </a:r>
            <a:r>
              <a:rPr lang="en-US" sz="1400" dirty="0" err="1"/>
              <a:t>læring</a:t>
            </a:r>
            <a:r>
              <a:rPr lang="en-US" sz="1400" dirty="0"/>
              <a:t> er </a:t>
            </a:r>
            <a:r>
              <a:rPr lang="en-US" sz="1400" dirty="0" err="1"/>
              <a:t>på</a:t>
            </a:r>
            <a:r>
              <a:rPr lang="en-US" sz="1400" dirty="0"/>
              <a:t> processer </a:t>
            </a:r>
            <a:r>
              <a:rPr lang="en-US" sz="1400" dirty="0" err="1"/>
              <a:t>og</a:t>
            </a:r>
            <a:r>
              <a:rPr lang="en-US" sz="1400" dirty="0"/>
              <a:t> </a:t>
            </a:r>
            <a:r>
              <a:rPr lang="en-US" sz="1400" dirty="0" err="1"/>
              <a:t>produktkendskab</a:t>
            </a:r>
            <a:endParaRPr lang="en-US" sz="1400" dirty="0"/>
          </a:p>
        </p:txBody>
      </p:sp>
      <p:sp>
        <p:nvSpPr>
          <p:cNvPr id="24" name="Ellipse 23">
            <a:extLst>
              <a:ext uri="{FF2B5EF4-FFF2-40B4-BE49-F238E27FC236}">
                <a16:creationId xmlns:a16="http://schemas.microsoft.com/office/drawing/2014/main" id="{20FD4FB5-045E-5EC5-039E-CC9AAF09C332}"/>
              </a:ext>
            </a:extLst>
          </p:cNvPr>
          <p:cNvSpPr>
            <a:spLocks/>
          </p:cNvSpPr>
          <p:nvPr/>
        </p:nvSpPr>
        <p:spPr>
          <a:xfrm>
            <a:off x="2246449" y="1871009"/>
            <a:ext cx="498116" cy="497248"/>
          </a:xfrm>
          <a:prstGeom prst="ellipse">
            <a:avLst/>
          </a:prstGeom>
          <a:solidFill>
            <a:schemeClr val="accent3"/>
          </a:solidFill>
          <a:ln w="762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ctr"/>
          <a:lstStyle/>
          <a:p>
            <a:pPr algn="ctr"/>
            <a:r>
              <a:rPr lang="en-US" sz="2000" b="1" dirty="0">
                <a:solidFill>
                  <a:schemeClr val="accent1"/>
                </a:solidFill>
              </a:rPr>
              <a:t>1</a:t>
            </a:r>
          </a:p>
        </p:txBody>
      </p:sp>
      <p:sp>
        <p:nvSpPr>
          <p:cNvPr id="25" name="Ellipse 24">
            <a:extLst>
              <a:ext uri="{FF2B5EF4-FFF2-40B4-BE49-F238E27FC236}">
                <a16:creationId xmlns:a16="http://schemas.microsoft.com/office/drawing/2014/main" id="{05E0CEB3-DEB4-AFB8-C07C-508A94A4BD9C}"/>
              </a:ext>
            </a:extLst>
          </p:cNvPr>
          <p:cNvSpPr>
            <a:spLocks/>
          </p:cNvSpPr>
          <p:nvPr/>
        </p:nvSpPr>
        <p:spPr>
          <a:xfrm>
            <a:off x="3012089" y="2707348"/>
            <a:ext cx="498116" cy="497248"/>
          </a:xfrm>
          <a:prstGeom prst="ellipse">
            <a:avLst/>
          </a:prstGeom>
          <a:solidFill>
            <a:schemeClr val="accent3"/>
          </a:solidFill>
          <a:ln w="762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ctr"/>
          <a:lstStyle/>
          <a:p>
            <a:pPr algn="ctr"/>
            <a:r>
              <a:rPr lang="en-US" sz="2000" b="1" dirty="0">
                <a:solidFill>
                  <a:schemeClr val="accent1"/>
                </a:solidFill>
              </a:rPr>
              <a:t>2</a:t>
            </a:r>
          </a:p>
        </p:txBody>
      </p:sp>
      <p:sp>
        <p:nvSpPr>
          <p:cNvPr id="26" name="Ellipse 25">
            <a:extLst>
              <a:ext uri="{FF2B5EF4-FFF2-40B4-BE49-F238E27FC236}">
                <a16:creationId xmlns:a16="http://schemas.microsoft.com/office/drawing/2014/main" id="{B169F187-90D5-0657-5AEB-AB0F2E6FC557}"/>
              </a:ext>
            </a:extLst>
          </p:cNvPr>
          <p:cNvSpPr>
            <a:spLocks/>
          </p:cNvSpPr>
          <p:nvPr/>
        </p:nvSpPr>
        <p:spPr>
          <a:xfrm>
            <a:off x="3156407" y="3543686"/>
            <a:ext cx="498116" cy="497248"/>
          </a:xfrm>
          <a:prstGeom prst="ellipse">
            <a:avLst/>
          </a:prstGeom>
          <a:solidFill>
            <a:schemeClr val="accent3"/>
          </a:solidFill>
          <a:ln w="762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ctr"/>
          <a:lstStyle/>
          <a:p>
            <a:pPr algn="ctr"/>
            <a:r>
              <a:rPr lang="en-US" sz="2000" b="1" dirty="0">
                <a:solidFill>
                  <a:schemeClr val="accent1"/>
                </a:solidFill>
              </a:rPr>
              <a:t>3</a:t>
            </a:r>
          </a:p>
        </p:txBody>
      </p:sp>
      <p:sp>
        <p:nvSpPr>
          <p:cNvPr id="27" name="Ellipse 26">
            <a:extLst>
              <a:ext uri="{FF2B5EF4-FFF2-40B4-BE49-F238E27FC236}">
                <a16:creationId xmlns:a16="http://schemas.microsoft.com/office/drawing/2014/main" id="{3CF76CD4-1293-C517-71E8-575E0D7AF1D3}"/>
              </a:ext>
            </a:extLst>
          </p:cNvPr>
          <p:cNvSpPr>
            <a:spLocks/>
          </p:cNvSpPr>
          <p:nvPr/>
        </p:nvSpPr>
        <p:spPr>
          <a:xfrm>
            <a:off x="3012089" y="4380026"/>
            <a:ext cx="498116" cy="497248"/>
          </a:xfrm>
          <a:prstGeom prst="ellipse">
            <a:avLst/>
          </a:prstGeom>
          <a:solidFill>
            <a:schemeClr val="accent3"/>
          </a:solidFill>
          <a:ln w="762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ctr"/>
          <a:lstStyle/>
          <a:p>
            <a:pPr algn="ctr"/>
            <a:r>
              <a:rPr lang="en-US" sz="2000" b="1" dirty="0">
                <a:solidFill>
                  <a:schemeClr val="accent1"/>
                </a:solidFill>
              </a:rPr>
              <a:t>4</a:t>
            </a:r>
          </a:p>
        </p:txBody>
      </p:sp>
      <p:sp>
        <p:nvSpPr>
          <p:cNvPr id="28" name="Ellipse 27">
            <a:extLst>
              <a:ext uri="{FF2B5EF4-FFF2-40B4-BE49-F238E27FC236}">
                <a16:creationId xmlns:a16="http://schemas.microsoft.com/office/drawing/2014/main" id="{A5E74C74-C84F-265D-695F-ED96DE8F6F27}"/>
              </a:ext>
            </a:extLst>
          </p:cNvPr>
          <p:cNvSpPr>
            <a:spLocks/>
          </p:cNvSpPr>
          <p:nvPr/>
        </p:nvSpPr>
        <p:spPr>
          <a:xfrm>
            <a:off x="2246449" y="5216364"/>
            <a:ext cx="498116" cy="497248"/>
          </a:xfrm>
          <a:prstGeom prst="ellipse">
            <a:avLst/>
          </a:prstGeom>
          <a:solidFill>
            <a:schemeClr val="accent3"/>
          </a:solidFill>
          <a:ln w="762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ctr"/>
          <a:lstStyle/>
          <a:p>
            <a:pPr algn="ctr"/>
            <a:r>
              <a:rPr lang="en-US" sz="2000" b="1">
                <a:solidFill>
                  <a:schemeClr val="accent1"/>
                </a:solidFill>
              </a:rPr>
              <a:t>5</a:t>
            </a:r>
          </a:p>
        </p:txBody>
      </p:sp>
      <p:sp>
        <p:nvSpPr>
          <p:cNvPr id="40" name="Textfeld 39">
            <a:extLst>
              <a:ext uri="{FF2B5EF4-FFF2-40B4-BE49-F238E27FC236}">
                <a16:creationId xmlns:a16="http://schemas.microsoft.com/office/drawing/2014/main" id="{132CAD3B-EE1D-08BA-0791-E29E22F0D00F}"/>
              </a:ext>
            </a:extLst>
          </p:cNvPr>
          <p:cNvSpPr txBox="1">
            <a:spLocks/>
          </p:cNvSpPr>
          <p:nvPr/>
        </p:nvSpPr>
        <p:spPr>
          <a:xfrm>
            <a:off x="629444" y="3145979"/>
            <a:ext cx="2295970" cy="17235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da-DK" sz="1400" dirty="0"/>
              <a:t>Siden 2021 har Siemens </a:t>
            </a:r>
            <a:r>
              <a:rPr lang="da-DK" sz="1400" dirty="0" err="1"/>
              <a:t>Gamesa</a:t>
            </a:r>
            <a:r>
              <a:rPr lang="da-DK" sz="1400" dirty="0"/>
              <a:t> udviklet turbinespecifik træning i Virtual Reality. Fra og med 2024 er det det standardiserede træningsleveringsformat, der tilbydes verden over:</a:t>
            </a:r>
          </a:p>
        </p:txBody>
      </p:sp>
    </p:spTree>
    <p:extLst>
      <p:ext uri="{BB962C8B-B14F-4D97-AF65-F5344CB8AC3E}">
        <p14:creationId xmlns:p14="http://schemas.microsoft.com/office/powerpoint/2010/main" val="11289039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1" grpId="0" animBg="1"/>
      <p:bldP spid="12" grpId="0" animBg="1"/>
      <p:bldP spid="13" grpId="0" animBg="1"/>
      <p:bldP spid="15" grpId="0" animBg="1"/>
      <p:bldP spid="24" grpId="0" animBg="1"/>
      <p:bldP spid="25" grpId="0" animBg="1"/>
      <p:bldP spid="26" grpId="0" animBg="1"/>
      <p:bldP spid="27" grpId="0" animBg="1"/>
      <p:bldP spid="28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D07FA8C-5C80-70B6-1294-A9D1850507E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D07FA8C-5C80-70B6-1294-A9D1850507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89E23F2-3FD0-2FF1-D6B1-707861013C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Agenda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5C4BF6B-E90B-F12E-247C-C8E9DADFB8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Siemens Gamesa Renewable Energy, 2025 | Sami El-Daoud</a:t>
            </a:r>
            <a:endParaRPr lang="en-GB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718048DB-81A1-1FD8-BD2D-0D5F69E68A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D1E00E-1E4E-4C8B-96B1-5A423A77B51C}" type="datetime1">
              <a:rPr lang="en-US" smtClean="0"/>
              <a:t>2/6/2025</a:t>
            </a:fld>
            <a:endParaRPr lang="en-US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AC46B636-73F3-D369-F489-A853262C57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B0116A-0D09-4E99-8C69-B4C15A5D8A2B}" type="slidenum">
              <a:rPr lang="en-US" smtClean="0"/>
              <a:pPr/>
              <a:t>9</a:t>
            </a:fld>
            <a:endParaRPr lang="en-US"/>
          </a:p>
        </p:txBody>
      </p:sp>
      <p:cxnSp>
        <p:nvCxnSpPr>
          <p:cNvPr id="10" name="Time line">
            <a:extLst>
              <a:ext uri="{FF2B5EF4-FFF2-40B4-BE49-F238E27FC236}">
                <a16:creationId xmlns:a16="http://schemas.microsoft.com/office/drawing/2014/main" id="{7E1F234D-09FC-6A3D-1ADB-54AD26135AD6}"/>
              </a:ext>
            </a:extLst>
          </p:cNvPr>
          <p:cNvCxnSpPr>
            <a:cxnSpLocks/>
          </p:cNvCxnSpPr>
          <p:nvPr/>
        </p:nvCxnSpPr>
        <p:spPr>
          <a:xfrm>
            <a:off x="1" y="3102686"/>
            <a:ext cx="9544049" cy="0"/>
          </a:xfrm>
          <a:prstGeom prst="line">
            <a:avLst/>
          </a:prstGeom>
          <a:ln w="38100">
            <a:solidFill>
              <a:srgbClr val="5A467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Copy 1">
            <a:extLst>
              <a:ext uri="{FF2B5EF4-FFF2-40B4-BE49-F238E27FC236}">
                <a16:creationId xmlns:a16="http://schemas.microsoft.com/office/drawing/2014/main" id="{B35B4E8E-A46E-B15A-6F8E-8427CA62D85D}"/>
              </a:ext>
            </a:extLst>
          </p:cNvPr>
          <p:cNvSpPr txBox="1">
            <a:spLocks/>
          </p:cNvSpPr>
          <p:nvPr/>
        </p:nvSpPr>
        <p:spPr>
          <a:xfrm>
            <a:off x="1391954" y="4239082"/>
            <a:ext cx="1537541" cy="79149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300"/>
              </a:spcAft>
            </a:pPr>
            <a:r>
              <a:rPr lang="en-US" b="1" dirty="0"/>
              <a:t>VR deep dive</a:t>
            </a:r>
          </a:p>
          <a:p>
            <a:r>
              <a:rPr lang="en-US" sz="1400" dirty="0" err="1"/>
              <a:t>Anvendelse</a:t>
            </a:r>
            <a:r>
              <a:rPr lang="en-US" sz="1400" dirty="0"/>
              <a:t> </a:t>
            </a:r>
            <a:r>
              <a:rPr lang="en-US" sz="1400" dirty="0" err="1"/>
              <a:t>af</a:t>
            </a:r>
            <a:r>
              <a:rPr lang="en-US" sz="1400" dirty="0"/>
              <a:t> VR </a:t>
            </a:r>
            <a:r>
              <a:rPr lang="en-US" sz="1400" dirty="0" err="1"/>
              <a:t>i</a:t>
            </a:r>
            <a:r>
              <a:rPr lang="en-US" sz="1400" dirty="0"/>
              <a:t> SGRE</a:t>
            </a:r>
          </a:p>
          <a:p>
            <a:endParaRPr lang="en-US" sz="1400" dirty="0"/>
          </a:p>
        </p:txBody>
      </p:sp>
      <p:sp>
        <p:nvSpPr>
          <p:cNvPr id="39" name="Copy 1">
            <a:extLst>
              <a:ext uri="{FF2B5EF4-FFF2-40B4-BE49-F238E27FC236}">
                <a16:creationId xmlns:a16="http://schemas.microsoft.com/office/drawing/2014/main" id="{132338B9-ED10-05A6-0160-17F3E5F3CB80}"/>
              </a:ext>
            </a:extLst>
          </p:cNvPr>
          <p:cNvSpPr txBox="1">
            <a:spLocks/>
          </p:cNvSpPr>
          <p:nvPr/>
        </p:nvSpPr>
        <p:spPr>
          <a:xfrm>
            <a:off x="4034393" y="4239082"/>
            <a:ext cx="1761626" cy="79149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300"/>
              </a:spcAft>
            </a:pPr>
            <a:r>
              <a:rPr lang="en-US" b="1" dirty="0"/>
              <a:t>Goggles on!</a:t>
            </a:r>
          </a:p>
          <a:p>
            <a:r>
              <a:rPr lang="en-US" sz="1400" dirty="0"/>
              <a:t>Show, don’t tell</a:t>
            </a:r>
          </a:p>
          <a:p>
            <a:endParaRPr lang="en-US" sz="1200" dirty="0"/>
          </a:p>
        </p:txBody>
      </p:sp>
      <p:sp>
        <p:nvSpPr>
          <p:cNvPr id="40" name="Copy 1">
            <a:extLst>
              <a:ext uri="{FF2B5EF4-FFF2-40B4-BE49-F238E27FC236}">
                <a16:creationId xmlns:a16="http://schemas.microsoft.com/office/drawing/2014/main" id="{5A5BEA9F-506D-7596-7CBA-0B8F93D1B97F}"/>
              </a:ext>
            </a:extLst>
          </p:cNvPr>
          <p:cNvSpPr txBox="1">
            <a:spLocks/>
          </p:cNvSpPr>
          <p:nvPr/>
        </p:nvSpPr>
        <p:spPr>
          <a:xfrm>
            <a:off x="6676833" y="4239082"/>
            <a:ext cx="1761625" cy="79149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300"/>
              </a:spcAft>
            </a:pPr>
            <a:r>
              <a:rPr lang="en-US" b="1" dirty="0"/>
              <a:t>Se </a:t>
            </a:r>
            <a:r>
              <a:rPr lang="en-US" b="1" dirty="0" err="1"/>
              <a:t>fremad</a:t>
            </a:r>
            <a:endParaRPr lang="en-US" b="1" dirty="0"/>
          </a:p>
          <a:p>
            <a:r>
              <a:rPr lang="en-US" sz="1400" dirty="0" err="1"/>
              <a:t>Udnyt</a:t>
            </a:r>
            <a:r>
              <a:rPr lang="en-US" sz="1400" dirty="0"/>
              <a:t> </a:t>
            </a:r>
            <a:r>
              <a:rPr lang="en-US" sz="1400" dirty="0" err="1"/>
              <a:t>potentialet</a:t>
            </a:r>
            <a:endParaRPr lang="en-US" sz="1200" dirty="0"/>
          </a:p>
        </p:txBody>
      </p:sp>
      <p:sp>
        <p:nvSpPr>
          <p:cNvPr id="17" name="Bullet 2">
            <a:extLst>
              <a:ext uri="{FF2B5EF4-FFF2-40B4-BE49-F238E27FC236}">
                <a16:creationId xmlns:a16="http://schemas.microsoft.com/office/drawing/2014/main" id="{F2A1CFED-73B4-C1C1-9AA3-78824B2C0064}"/>
              </a:ext>
            </a:extLst>
          </p:cNvPr>
          <p:cNvSpPr>
            <a:spLocks noChangeAspect="1"/>
          </p:cNvSpPr>
          <p:nvPr/>
        </p:nvSpPr>
        <p:spPr>
          <a:xfrm>
            <a:off x="3872163" y="2221873"/>
            <a:ext cx="1761626" cy="1761626"/>
          </a:xfrm>
          <a:prstGeom prst="ellipse">
            <a:avLst/>
          </a:prstGeom>
          <a:solidFill>
            <a:schemeClr val="accent3"/>
          </a:solidFill>
          <a:ln w="7620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8000" b="1" dirty="0">
                <a:solidFill>
                  <a:schemeClr val="accent1"/>
                </a:solidFill>
                <a:cs typeface="Times New Roman" panose="02020603050405020304" pitchFamily="18" charset="0"/>
              </a:rPr>
              <a:t>2</a:t>
            </a:r>
          </a:p>
        </p:txBody>
      </p:sp>
      <p:sp>
        <p:nvSpPr>
          <p:cNvPr id="33" name="Bullet 2">
            <a:extLst>
              <a:ext uri="{FF2B5EF4-FFF2-40B4-BE49-F238E27FC236}">
                <a16:creationId xmlns:a16="http://schemas.microsoft.com/office/drawing/2014/main" id="{5FBBC3A6-4DCB-D7DF-FC2D-468B18FD8EF7}"/>
              </a:ext>
            </a:extLst>
          </p:cNvPr>
          <p:cNvSpPr>
            <a:spLocks noChangeAspect="1"/>
          </p:cNvSpPr>
          <p:nvPr/>
        </p:nvSpPr>
        <p:spPr>
          <a:xfrm>
            <a:off x="6558213" y="2221873"/>
            <a:ext cx="1761626" cy="1761626"/>
          </a:xfrm>
          <a:prstGeom prst="ellipse">
            <a:avLst/>
          </a:prstGeom>
          <a:solidFill>
            <a:schemeClr val="accent3"/>
          </a:solidFill>
          <a:ln w="7620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8000" b="1" dirty="0">
                <a:solidFill>
                  <a:schemeClr val="accent1"/>
                </a:solidFill>
                <a:cs typeface="Times New Roman" panose="02020603050405020304" pitchFamily="18" charset="0"/>
              </a:rPr>
              <a:t>3</a:t>
            </a:r>
          </a:p>
        </p:txBody>
      </p:sp>
      <p:sp>
        <p:nvSpPr>
          <p:cNvPr id="37" name="Bullet 2">
            <a:extLst>
              <a:ext uri="{FF2B5EF4-FFF2-40B4-BE49-F238E27FC236}">
                <a16:creationId xmlns:a16="http://schemas.microsoft.com/office/drawing/2014/main" id="{045E4312-D46A-1DCF-B5CD-F11266BCF6A2}"/>
              </a:ext>
            </a:extLst>
          </p:cNvPr>
          <p:cNvSpPr>
            <a:spLocks noChangeAspect="1"/>
          </p:cNvSpPr>
          <p:nvPr/>
        </p:nvSpPr>
        <p:spPr>
          <a:xfrm>
            <a:off x="1167869" y="2221873"/>
            <a:ext cx="1761626" cy="1761626"/>
          </a:xfrm>
          <a:prstGeom prst="ellipse">
            <a:avLst/>
          </a:prstGeom>
          <a:solidFill>
            <a:schemeClr val="accent3"/>
          </a:solidFill>
          <a:ln w="7620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8000" b="1" dirty="0">
                <a:solidFill>
                  <a:schemeClr val="accent1"/>
                </a:solidFill>
                <a:cs typeface="Times New Roman" panose="02020603050405020304" pitchFamily="18" charset="0"/>
              </a:rPr>
              <a:t>1</a:t>
            </a:r>
          </a:p>
        </p:txBody>
      </p:sp>
      <p:sp>
        <p:nvSpPr>
          <p:cNvPr id="9" name="Copy 1">
            <a:extLst>
              <a:ext uri="{FF2B5EF4-FFF2-40B4-BE49-F238E27FC236}">
                <a16:creationId xmlns:a16="http://schemas.microsoft.com/office/drawing/2014/main" id="{D870E92B-457C-8119-661F-9B9A9F4940C5}"/>
              </a:ext>
            </a:extLst>
          </p:cNvPr>
          <p:cNvSpPr txBox="1">
            <a:spLocks/>
          </p:cNvSpPr>
          <p:nvPr/>
        </p:nvSpPr>
        <p:spPr>
          <a:xfrm>
            <a:off x="9319272" y="4239082"/>
            <a:ext cx="2129778" cy="79149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300"/>
              </a:spcAft>
            </a:pPr>
            <a:r>
              <a:rPr lang="en-US" b="1" dirty="0" err="1"/>
              <a:t>Anvendelse</a:t>
            </a:r>
            <a:r>
              <a:rPr lang="en-US" b="1" dirty="0"/>
              <a:t> </a:t>
            </a:r>
            <a:r>
              <a:rPr lang="en-US" b="1" dirty="0" err="1"/>
              <a:t>i</a:t>
            </a:r>
            <a:r>
              <a:rPr lang="en-US" b="1" dirty="0"/>
              <a:t> FSV</a:t>
            </a:r>
          </a:p>
          <a:p>
            <a:r>
              <a:rPr lang="en-US" sz="1400" dirty="0" err="1"/>
              <a:t>Hvad</a:t>
            </a:r>
            <a:r>
              <a:rPr lang="en-US" sz="1400" dirty="0"/>
              <a:t> </a:t>
            </a:r>
            <a:r>
              <a:rPr lang="en-US" sz="1400" dirty="0" err="1"/>
              <a:t>tænker</a:t>
            </a:r>
            <a:r>
              <a:rPr lang="en-US" sz="1400" dirty="0"/>
              <a:t> I?</a:t>
            </a:r>
          </a:p>
          <a:p>
            <a:r>
              <a:rPr lang="en-US" sz="1400" dirty="0"/>
              <a:t>Q&amp;A</a:t>
            </a:r>
          </a:p>
          <a:p>
            <a:endParaRPr lang="en-US" sz="1400" dirty="0"/>
          </a:p>
        </p:txBody>
      </p:sp>
      <p:sp>
        <p:nvSpPr>
          <p:cNvPr id="11" name="Bullet 2">
            <a:extLst>
              <a:ext uri="{FF2B5EF4-FFF2-40B4-BE49-F238E27FC236}">
                <a16:creationId xmlns:a16="http://schemas.microsoft.com/office/drawing/2014/main" id="{282B9DD0-9EA8-ECC1-2749-54FD87FC67B6}"/>
              </a:ext>
            </a:extLst>
          </p:cNvPr>
          <p:cNvSpPr>
            <a:spLocks noChangeAspect="1"/>
          </p:cNvSpPr>
          <p:nvPr/>
        </p:nvSpPr>
        <p:spPr>
          <a:xfrm>
            <a:off x="9244263" y="2185822"/>
            <a:ext cx="1761626" cy="1761626"/>
          </a:xfrm>
          <a:prstGeom prst="ellipse">
            <a:avLst/>
          </a:prstGeom>
          <a:solidFill>
            <a:schemeClr val="accent3"/>
          </a:solidFill>
          <a:ln w="7620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8000" b="1" dirty="0">
                <a:solidFill>
                  <a:schemeClr val="accent1"/>
                </a:solidFill>
                <a:cs typeface="Times New Roman" panose="02020603050405020304" pitchFamily="18" charset="0"/>
              </a:rPr>
              <a:t>4</a:t>
            </a:r>
          </a:p>
        </p:txBody>
      </p:sp>
      <p:sp>
        <p:nvSpPr>
          <p:cNvPr id="4" name="Rechteck 4">
            <a:extLst>
              <a:ext uri="{FF2B5EF4-FFF2-40B4-BE49-F238E27FC236}">
                <a16:creationId xmlns:a16="http://schemas.microsoft.com/office/drawing/2014/main" id="{9ED11C44-8DAB-3CD1-D34B-338F5734F3D6}"/>
              </a:ext>
            </a:extLst>
          </p:cNvPr>
          <p:cNvSpPr>
            <a:spLocks/>
          </p:cNvSpPr>
          <p:nvPr/>
        </p:nvSpPr>
        <p:spPr>
          <a:xfrm>
            <a:off x="1167867" y="1603573"/>
            <a:ext cx="1761628" cy="4175118"/>
          </a:xfrm>
          <a:prstGeom prst="rect">
            <a:avLst/>
          </a:prstGeom>
          <a:solidFill>
            <a:schemeClr val="accent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t"/>
          <a:lstStyle/>
          <a:p>
            <a:pPr algn="l"/>
            <a:endParaRPr lang="en-US" err="1">
              <a:solidFill>
                <a:schemeClr val="bg1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A1B5BC95-AD0C-E7A0-B3A3-77633E1C992E}"/>
              </a:ext>
            </a:extLst>
          </p:cNvPr>
          <p:cNvSpPr>
            <a:spLocks/>
          </p:cNvSpPr>
          <p:nvPr/>
        </p:nvSpPr>
        <p:spPr>
          <a:xfrm>
            <a:off x="6096000" y="1341441"/>
            <a:ext cx="5384377" cy="4175118"/>
          </a:xfrm>
          <a:prstGeom prst="rect">
            <a:avLst/>
          </a:prstGeom>
          <a:solidFill>
            <a:schemeClr val="accent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t"/>
          <a:lstStyle/>
          <a:p>
            <a:pPr algn="l"/>
            <a:endParaRPr lang="en-US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08380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EE4P_STYLE_ID" val="50e32e8e-b026-460d-b64f-cd83e6e38cfd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iemens Gamesa Renewable Energy">
  <a:themeElements>
    <a:clrScheme name="Siemens Gamesa">
      <a:dk1>
        <a:sysClr val="windowText" lastClr="000000"/>
      </a:dk1>
      <a:lt1>
        <a:sysClr val="window" lastClr="FFFFFF"/>
      </a:lt1>
      <a:dk2>
        <a:srgbClr val="3C3C3C"/>
      </a:dk2>
      <a:lt2>
        <a:srgbClr val="E8E8E8"/>
      </a:lt2>
      <a:accent1>
        <a:srgbClr val="321850"/>
      </a:accent1>
      <a:accent2>
        <a:srgbClr val="3C3C3C"/>
      </a:accent2>
      <a:accent3>
        <a:srgbClr val="00B0AD"/>
      </a:accent3>
      <a:accent4>
        <a:srgbClr val="FAB600"/>
      </a:accent4>
      <a:accent5>
        <a:srgbClr val="878787"/>
      </a:accent5>
      <a:accent6>
        <a:srgbClr val="C6C6C6"/>
      </a:accent6>
      <a:hlink>
        <a:srgbClr val="321850"/>
      </a:hlink>
      <a:folHlink>
        <a:srgbClr val="878787"/>
      </a:folHlink>
    </a:clrScheme>
    <a:fontScheme name="Siemens Energ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80000" tIns="144000" rIns="180000" bIns="144000" rtlCol="0" anchor="t"/>
      <a:lstStyle>
        <a:defPPr algn="l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 cap="rnd">
          <a:solidFill>
            <a:schemeClr val="accent6"/>
          </a:solidFill>
        </a:ln>
        <a:effectLst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dirty="0" err="1" smtClean="0"/>
        </a:defPPr>
      </a:lstStyle>
    </a:txDef>
  </a:objectDefaults>
  <a:extraClrSchemeLst/>
  <a:custClrLst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Dark Purple 80%">
      <a:srgbClr val="5A4673"/>
    </a:custClr>
    <a:custClr name="Dark Gray 80%">
      <a:srgbClr val="636363"/>
    </a:custClr>
    <a:custClr name="Turquoise 80%">
      <a:srgbClr val="33C0BD"/>
    </a:custClr>
    <a:custClr name="Sunrise 80%">
      <a:srgbClr val="FBC533"/>
    </a:custClr>
    <a:custClr name="Medium Gray 80%">
      <a:srgbClr val="9F9F9F"/>
    </a:custClr>
    <a:custClr name="Soft Gray 80%">
      <a:srgbClr val="D1D1D1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Dark Purple 60%">
      <a:srgbClr val="847496"/>
    </a:custClr>
    <a:custClr name="Dark Gray 60%">
      <a:srgbClr val="8A8A8A"/>
    </a:custClr>
    <a:custClr name="Turquoise 60%">
      <a:srgbClr val="66D0CE"/>
    </a:custClr>
    <a:custClr name="Sunrise 60%">
      <a:srgbClr val="FCD366"/>
    </a:custClr>
    <a:custClr name="Medium Gray 60%">
      <a:srgbClr val="B7B7B7"/>
    </a:custClr>
    <a:custClr name="Soft Gray 60%">
      <a:srgbClr val="DDDDDD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Dark Purple 40%">
      <a:srgbClr val="ADA3B9"/>
    </a:custClr>
    <a:custClr name="Dark Gray 40%">
      <a:srgbClr val="B1B1B1"/>
    </a:custClr>
    <a:custClr name="Turquoise 40%">
      <a:srgbClr val="99DEDF"/>
    </a:custClr>
    <a:custClr name="Sunrise 40%">
      <a:srgbClr val="FDE299"/>
    </a:custClr>
    <a:custClr name="Medium Gray 40%">
      <a:srgbClr val="CFCFCF"/>
    </a:custClr>
    <a:custClr name="Soft Gray 40%">
      <a:srgbClr val="E8E8E8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Dark Purple 20%">
      <a:srgbClr val="D6D1DC"/>
    </a:custClr>
    <a:custClr name="Dark Gray 20%">
      <a:srgbClr val="D8D8D8"/>
    </a:custClr>
    <a:custClr name="Turquoise 20%">
      <a:srgbClr val="CCEFEF"/>
    </a:custClr>
    <a:custClr name="Sunrise 20%">
      <a:srgbClr val="FEF0CC"/>
    </a:custClr>
    <a:custClr name="Medium Gray 20%">
      <a:srgbClr val="E7E7E7"/>
    </a:custClr>
    <a:custClr name="Soft Gray 20%">
      <a:srgbClr val="F4F4F4"/>
    </a:custClr>
  </a:custClrLst>
  <a:extLst>
    <a:ext uri="{05A4C25C-085E-4340-85A3-A5531E510DB2}">
      <thm15:themeFamily xmlns:thm15="http://schemas.microsoft.com/office/thememl/2012/main" name="SE_PPT-Template.pptx" id="{023A37F2-AF87-4822-B4D0-64FAE8ABED5E}" vid="{9F6375CC-19C6-408F-A8EE-C21CBC27B287}"/>
    </a:ext>
  </a:extLst>
</a:theme>
</file>

<file path=ppt/theme/theme2.xml><?xml version="1.0" encoding="utf-8"?>
<a:theme xmlns:a="http://schemas.openxmlformats.org/drawingml/2006/main" name="Siemens Energy">
  <a:themeElements>
    <a:clrScheme name="Siemens Gamesa">
      <a:dk1>
        <a:sysClr val="windowText" lastClr="000000"/>
      </a:dk1>
      <a:lt1>
        <a:sysClr val="window" lastClr="FFFFFF"/>
      </a:lt1>
      <a:dk2>
        <a:srgbClr val="3C3C3C"/>
      </a:dk2>
      <a:lt2>
        <a:srgbClr val="E8E8E8"/>
      </a:lt2>
      <a:accent1>
        <a:srgbClr val="321850"/>
      </a:accent1>
      <a:accent2>
        <a:srgbClr val="3C3C3C"/>
      </a:accent2>
      <a:accent3>
        <a:srgbClr val="00B0AD"/>
      </a:accent3>
      <a:accent4>
        <a:srgbClr val="FAB600"/>
      </a:accent4>
      <a:accent5>
        <a:srgbClr val="878787"/>
      </a:accent5>
      <a:accent6>
        <a:srgbClr val="C6C6C6"/>
      </a:accent6>
      <a:hlink>
        <a:srgbClr val="321850"/>
      </a:hlink>
      <a:folHlink>
        <a:srgbClr val="878787"/>
      </a:folHlink>
    </a:clrScheme>
    <a:fontScheme name="Siemens Energ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Siemens Energy">
  <a:themeElements>
    <a:clrScheme name="Siemens Gamesa">
      <a:dk1>
        <a:sysClr val="windowText" lastClr="000000"/>
      </a:dk1>
      <a:lt1>
        <a:sysClr val="window" lastClr="FFFFFF"/>
      </a:lt1>
      <a:dk2>
        <a:srgbClr val="3C3C3C"/>
      </a:dk2>
      <a:lt2>
        <a:srgbClr val="E8E8E8"/>
      </a:lt2>
      <a:accent1>
        <a:srgbClr val="321850"/>
      </a:accent1>
      <a:accent2>
        <a:srgbClr val="3C3C3C"/>
      </a:accent2>
      <a:accent3>
        <a:srgbClr val="00B0AD"/>
      </a:accent3>
      <a:accent4>
        <a:srgbClr val="FAB600"/>
      </a:accent4>
      <a:accent5>
        <a:srgbClr val="878787"/>
      </a:accent5>
      <a:accent6>
        <a:srgbClr val="C6C6C6"/>
      </a:accent6>
      <a:hlink>
        <a:srgbClr val="321850"/>
      </a:hlink>
      <a:folHlink>
        <a:srgbClr val="878787"/>
      </a:folHlink>
    </a:clrScheme>
    <a:fontScheme name="Siemens Energ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wcoreunivInformationClassifTaxHTField0 xmlns="374bc90f-a0b2-404d-bf86-19b7a1720b84">
      <Terms xmlns="http://schemas.microsoft.com/office/infopath/2007/PartnerControls">
        <TermInfo xmlns="http://schemas.microsoft.com/office/infopath/2007/PartnerControls">
          <TermName xmlns="http://schemas.microsoft.com/office/infopath/2007/PartnerControls">Restricted</TermName>
          <TermId xmlns="http://schemas.microsoft.com/office/infopath/2007/PartnerControls">ea2d4d97-a5a1-45dc-8933-743bf76080a5</TermId>
        </TermInfo>
      </Terms>
    </wcoreunivInformationClassifTaxHTField0>
    <wcoreunivSourceLanguageTaxHTField0 xmlns="374bc90f-a0b2-404d-bf86-19b7a1720b84">
      <Terms xmlns="http://schemas.microsoft.com/office/infopath/2007/PartnerControls">
        <TermInfo xmlns="http://schemas.microsoft.com/office/infopath/2007/PartnerControls">
          <TermName xmlns="http://schemas.microsoft.com/office/infopath/2007/PartnerControls">en</TermName>
          <TermId xmlns="http://schemas.microsoft.com/office/infopath/2007/PartnerControls">a6062ab0-ab6b-4bf1-82cb-f4fbb1ba5a38</TermId>
        </TermInfo>
      </Terms>
    </wcoreunivSourceLanguageTaxHTField0>
    <TaxCatchAll xmlns="374bc90f-a0b2-404d-bf86-19b7a1720b84">
      <Value>1</Value>
      <Value>7</Value>
    </TaxCatchAll>
    <wcoreunivStatusTaxHTField0 xmlns="374bc90f-a0b2-404d-bf86-19b7a1720b84">
      <Terms xmlns="http://schemas.microsoft.com/office/infopath/2007/PartnerControls"/>
    </wcoreunivStatusTaxHTField0>
    <wcoreunivPreparerOrgCode xmlns="374bc90f-a0b2-404d-bf86-19b7a1720b84" xsi:nil="true"/>
    <Date xmlns="bb029903-0d34-4650-a067-35264b6466be" xsi:nil="true"/>
    <lcf76f155ced4ddcb4097134ff3c332f xmlns="bb029903-0d34-4650-a067-35264b6466be">
      <Terms xmlns="http://schemas.microsoft.com/office/infopath/2007/PartnerControls"/>
    </lcf76f155ced4ddcb4097134ff3c332f>
    <wcoreunivQuickLink xmlns="374bc90f-a0b2-404d-bf86-19b7a1720b84" xsi:nil="true"/>
    <RelatedItems xmlns="http://schemas.microsoft.com/sharepoint/v3" xsi:nil="true"/>
  </documentManagement>
</p:properties>
</file>

<file path=customXml/item2.xml><?xml version="1.0" encoding="utf-8"?>
<?mso-contentType ?>
<FormTemplates xmlns="http://schemas.microsoft.com/sharepoint/v3/contenttype/forms"/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SiemensDocument" ma:contentTypeID="0x010100E49E6938F18FE040AB456BA6F6AE38090005B8CE12C5357F4F935891BEB1194BA3" ma:contentTypeVersion="30" ma:contentTypeDescription="Siemens Universal MetaData - Base Document" ma:contentTypeScope="" ma:versionID="cab5fcb1148cbde4b416569a1f3a6c3e">
  <xsd:schema xmlns:xsd="http://www.w3.org/2001/XMLSchema" xmlns:xs="http://www.w3.org/2001/XMLSchema" xmlns:p="http://schemas.microsoft.com/office/2006/metadata/properties" xmlns:ns1="http://schemas.microsoft.com/sharepoint/v3" xmlns:ns2="374bc90f-a0b2-404d-bf86-19b7a1720b84" xmlns:ns3="bb029903-0d34-4650-a067-35264b6466be" targetNamespace="http://schemas.microsoft.com/office/2006/metadata/properties" ma:root="true" ma:fieldsID="416c003ad32e9bc593cfdd2bcfd2eae4" ns1:_="" ns2:_="" ns3:_="">
    <xsd:import namespace="http://schemas.microsoft.com/sharepoint/v3"/>
    <xsd:import namespace="374bc90f-a0b2-404d-bf86-19b7a1720b84"/>
    <xsd:import namespace="bb029903-0d34-4650-a067-35264b6466be"/>
    <xsd:element name="properties">
      <xsd:complexType>
        <xsd:sequence>
          <xsd:element name="documentManagement">
            <xsd:complexType>
              <xsd:all>
                <xsd:element ref="ns2:wcoreunivPreparerOrgCode" minOccurs="0"/>
                <xsd:element ref="ns1:RelatedItems" minOccurs="0"/>
                <xsd:element ref="ns2:wcoreunivQuickLink" minOccurs="0"/>
                <xsd:element ref="ns2:wcoreunivStatusTaxHTField0" minOccurs="0"/>
                <xsd:element ref="ns2:TaxCatchAll" minOccurs="0"/>
                <xsd:element ref="ns2:TaxCatchAllLabel" minOccurs="0"/>
                <xsd:element ref="ns2:wcoreunivInformationClassifTaxHTField0" minOccurs="0"/>
                <xsd:element ref="ns2:wcoreunivSourceLanguageTaxHTField0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Location" minOccurs="0"/>
                <xsd:element ref="ns2:SharedWithUsers" minOccurs="0"/>
                <xsd:element ref="ns2:SharedWithDetails" minOccurs="0"/>
                <xsd:element ref="ns3:MediaServiceAutoKeyPoints" minOccurs="0"/>
                <xsd:element ref="ns3:MediaServiceKeyPoints" minOccurs="0"/>
                <xsd:element ref="ns3:MediaServiceOCR" minOccurs="0"/>
                <xsd:element ref="ns3:MediaLengthInSeconds" minOccurs="0"/>
                <xsd:element ref="ns3:lcf76f155ced4ddcb4097134ff3c332f" minOccurs="0"/>
                <xsd:element ref="ns3:Date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RelatedItems" ma:index="6" nillable="true" ma:displayName="Related Items" ma:internalName="RelatedItems" ma:readOnly="fals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74bc90f-a0b2-404d-bf86-19b7a1720b84" elementFormDefault="qualified">
    <xsd:import namespace="http://schemas.microsoft.com/office/2006/documentManagement/types"/>
    <xsd:import namespace="http://schemas.microsoft.com/office/infopath/2007/PartnerControls"/>
    <xsd:element name="wcoreunivPreparerOrgCode" ma:index="4" nillable="true" ma:displayName="Preparer Organisation Code" ma:internalName="wcoreunivPreparerOrgCode" ma:readOnly="false">
      <xsd:simpleType>
        <xsd:restriction base="dms:Text"/>
      </xsd:simpleType>
    </xsd:element>
    <xsd:element name="wcoreunivQuickLink" ma:index="7" nillable="true" ma:displayName="Quick access" ma:description="Display in QuickLinks web part" ma:internalName="wcoreunivQuickLink" ma:readOnly="false">
      <xsd:simpleType>
        <xsd:restriction base="dms:Boolean"/>
      </xsd:simpleType>
    </xsd:element>
    <xsd:element name="wcoreunivStatusTaxHTField0" ma:index="8" nillable="true" ma:taxonomy="true" ma:internalName="wcoreunivStatusTaxHTField0" ma:taxonomyFieldName="wcoreunivStatus" ma:displayName="Status (manual)" ma:readOnly="false" ma:fieldId="{0af9d9fa-3c2a-4eda-b3a5-8208185a54e7}" ma:sspId="bf1e9583-fc69-4b61-aa5d-db94254c3f40" ma:termSetId="e345eb6c-b70d-4551-8287-3d5b4cd85e27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9" nillable="true" ma:displayName="Taxonomy Catch All Column" ma:hidden="true" ma:list="{44e5f57f-5e31-4d59-aafd-9560ac87a67c}" ma:internalName="TaxCatchAll" ma:readOnly="false" ma:showField="CatchAllData" ma:web="374bc90f-a0b2-404d-bf86-19b7a1720b8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hidden="true" ma:list="{44e5f57f-5e31-4d59-aafd-9560ac87a67c}" ma:internalName="TaxCatchAllLabel" ma:readOnly="true" ma:showField="CatchAllDataLabel" ma:web="374bc90f-a0b2-404d-bf86-19b7a1720b8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wcoreunivInformationClassifTaxHTField0" ma:index="12" nillable="true" ma:taxonomy="true" ma:internalName="wcoreunivInformationClassifTaxHTField0" ma:taxonomyFieldName="wcoreunivInformationClassif" ma:displayName="Classification" ma:readOnly="false" ma:default="7;#Restricted|ea2d4d97-a5a1-45dc-8933-743bf76080a5" ma:fieldId="{c9955005-35f3-4380-94b9-a923e4a87fdf}" ma:sspId="bf1e9583-fc69-4b61-aa5d-db94254c3f40" ma:termSetId="5a1a0bba-5970-4acd-bee9-c9bf9747e4f0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wcoreunivSourceLanguageTaxHTField0" ma:index="16" nillable="true" ma:taxonomy="true" ma:internalName="wcoreunivSourceLanguageTaxHTField0" ma:taxonomyFieldName="wcoreunivSourceLanguage" ma:displayName="Source Language" ma:readOnly="false" ma:default="1;#en|a6062ab0-ab6b-4bf1-82cb-f4fbb1ba5a38" ma:fieldId="{43f5fd57-e9c3-4e4d-a151-dbb01ae666b6}" ma:sspId="bf1e9583-fc69-4b61-aa5d-db94254c3f40" ma:termSetId="b505b3a5-fb88-47ea-bea4-650593204a32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aredWithUsers" ma:index="2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b029903-0d34-4650-a067-35264b6466b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2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21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22" nillable="true" ma:displayName="Tags" ma:internalName="MediaServiceAutoTags" ma:readOnly="true">
      <xsd:simpleType>
        <xsd:restriction base="dms:Text"/>
      </xsd:simpleType>
    </xsd:element>
    <xsd:element name="MediaServiceGenerationTime" ma:index="2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25" nillable="true" ma:displayName="Location" ma:internalName="MediaServiceLocation" ma:readOnly="true">
      <xsd:simpleType>
        <xsd:restriction base="dms:Text"/>
      </xsd:simpleType>
    </xsd:element>
    <xsd:element name="MediaServiceAutoKeyPoints" ma:index="2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3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3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33" nillable="true" ma:taxonomy="true" ma:internalName="lcf76f155ced4ddcb4097134ff3c332f" ma:taxonomyFieldName="MediaServiceImageTags" ma:displayName="Image Tags" ma:readOnly="false" ma:fieldId="{5cf76f15-5ced-4ddc-b409-7134ff3c332f}" ma:taxonomyMulti="true" ma:sspId="bf1e9583-fc69-4b61-aa5d-db94254c3f4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Date" ma:index="34" nillable="true" ma:displayName="Date Uploaded" ma:format="DateOnly" ma:internalName="Date">
      <xsd:simpleType>
        <xsd:restriction base="dms:DateTime"/>
      </xsd:simpleType>
    </xsd:element>
    <xsd:element name="MediaServiceObjectDetectorVersions" ma:index="35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3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5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E452176-5218-4D5D-A3CA-F1F274422920}">
  <ds:schemaRefs>
    <ds:schemaRef ds:uri="374bc90f-a0b2-404d-bf86-19b7a1720b84"/>
    <ds:schemaRef ds:uri="bb029903-0d34-4650-a067-35264b6466be"/>
    <ds:schemaRef ds:uri="http://schemas.microsoft.com/office/2006/metadata/properties"/>
    <ds:schemaRef ds:uri="http://schemas.microsoft.com/office/infopath/2007/PartnerControls"/>
    <ds:schemaRef ds:uri="http://schemas.microsoft.com/sharepoint/v3"/>
  </ds:schemaRefs>
</ds:datastoreItem>
</file>

<file path=customXml/itemProps2.xml><?xml version="1.0" encoding="utf-8"?>
<ds:datastoreItem xmlns:ds="http://schemas.openxmlformats.org/officeDocument/2006/customXml" ds:itemID="{F06B1AEF-52E9-491A-8525-FAF6C140CC3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57F49D0-3932-4950-A866-96686BFA3D3A}">
  <ds:schemaRefs>
    <ds:schemaRef ds:uri="374bc90f-a0b2-404d-bf86-19b7a1720b84"/>
    <ds:schemaRef ds:uri="bb029903-0d34-4650-a067-35264b6466be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E_PPT-Template</Template>
  <TotalTime>0</TotalTime>
  <Words>794</Words>
  <Application>Microsoft Office PowerPoint</Application>
  <PresentationFormat>Widescreen</PresentationFormat>
  <Paragraphs>162</Paragraphs>
  <Slides>15</Slides>
  <Notes>9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4</vt:i4>
      </vt:variant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15</vt:i4>
      </vt:variant>
    </vt:vector>
  </HeadingPairs>
  <TitlesOfParts>
    <vt:vector size="21" baseType="lpstr">
      <vt:lpstr>Arial Unicode MS</vt:lpstr>
      <vt:lpstr>Arial</vt:lpstr>
      <vt:lpstr>Times New Roman</vt:lpstr>
      <vt:lpstr>Wingdings</vt:lpstr>
      <vt:lpstr>Siemens Gamesa Renewable Energy</vt:lpstr>
      <vt:lpstr>think-cell Slide</vt:lpstr>
      <vt:lpstr>Virtual Reality til teknisk træning i Siemens Gamesa</vt:lpstr>
      <vt:lpstr>PowerPoint-præsentation</vt:lpstr>
      <vt:lpstr>Agenda</vt:lpstr>
      <vt:lpstr>PowerPoint-præsentation</vt:lpstr>
      <vt:lpstr>Hvad er VR?</vt:lpstr>
      <vt:lpstr>Global Træningsstrategi Hvad muliggøres af VR?</vt:lpstr>
      <vt:lpstr>Størrelsen på den nye Siemens Gamesa vindmølle  </vt:lpstr>
      <vt:lpstr>VR highlights</vt:lpstr>
      <vt:lpstr>Agenda</vt:lpstr>
      <vt:lpstr>Agenda</vt:lpstr>
      <vt:lpstr>PowerPoint-præsentation</vt:lpstr>
      <vt:lpstr>Se fremad</vt:lpstr>
      <vt:lpstr>Agenda</vt:lpstr>
      <vt:lpstr>PowerPoint-præsentation</vt:lpstr>
      <vt:lpstr>Q&amp;A?</vt:lpstr>
    </vt:vector>
  </TitlesOfParts>
  <Company>Siemens Gamesa Renewable Energy</Company>
  <LinksUpToDate>false</LinksUpToDate>
  <SharedDoc>false</SharedDoc>
  <HyperlinkBase>www.siemensgamesa.com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chart Arial Bold 44 pt</dc:title>
  <dc:creator>Walid El-Daoud, Sami</dc:creator>
  <dc:description>March 2022
Version 1.6</dc:description>
  <cp:lastModifiedBy>Walid El-Daoud, Sami</cp:lastModifiedBy>
  <cp:revision>5</cp:revision>
  <cp:lastPrinted>1999-12-31T23:00:00Z</cp:lastPrinted>
  <dcterms:created xsi:type="dcterms:W3CDTF">2024-10-14T12:19:39Z</dcterms:created>
  <dcterms:modified xsi:type="dcterms:W3CDTF">2025-02-06T12:12:48Z</dcterms:modified>
  <cp:contentStatus>Template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6013f521-439d-4e48-8e98-41ab6c596aa7_Enabled">
    <vt:lpwstr>true</vt:lpwstr>
  </property>
  <property fmtid="{D5CDD505-2E9C-101B-9397-08002B2CF9AE}" pid="3" name="MSIP_Label_6013f521-439d-4e48-8e98-41ab6c596aa7_SetDate">
    <vt:lpwstr>2022-11-03T15:32:26Z</vt:lpwstr>
  </property>
  <property fmtid="{D5CDD505-2E9C-101B-9397-08002B2CF9AE}" pid="4" name="MSIP_Label_6013f521-439d-4e48-8e98-41ab6c596aa7_Method">
    <vt:lpwstr>Standard</vt:lpwstr>
  </property>
  <property fmtid="{D5CDD505-2E9C-101B-9397-08002B2CF9AE}" pid="5" name="MSIP_Label_6013f521-439d-4e48-8e98-41ab6c596aa7_Name">
    <vt:lpwstr>6013f521-439d-4e48-8e98-41ab6c596aa7</vt:lpwstr>
  </property>
  <property fmtid="{D5CDD505-2E9C-101B-9397-08002B2CF9AE}" pid="6" name="MSIP_Label_6013f521-439d-4e48-8e98-41ab6c596aa7_SiteId">
    <vt:lpwstr>12f921d8-f30d-4596-a652-7045b338485a</vt:lpwstr>
  </property>
  <property fmtid="{D5CDD505-2E9C-101B-9397-08002B2CF9AE}" pid="7" name="MSIP_Label_6013f521-439d-4e48-8e98-41ab6c596aa7_ActionId">
    <vt:lpwstr>c404d00f-2c28-4b6e-8f85-a2e4b9708bab</vt:lpwstr>
  </property>
  <property fmtid="{D5CDD505-2E9C-101B-9397-08002B2CF9AE}" pid="8" name="MSIP_Label_6013f521-439d-4e48-8e98-41ab6c596aa7_ContentBits">
    <vt:lpwstr>0</vt:lpwstr>
  </property>
  <property fmtid="{D5CDD505-2E9C-101B-9397-08002B2CF9AE}" pid="9" name="ContentTypeId">
    <vt:lpwstr>0x010100E49E6938F18FE040AB456BA6F6AE38090005B8CE12C5357F4F935891BEB1194BA3</vt:lpwstr>
  </property>
  <property fmtid="{D5CDD505-2E9C-101B-9397-08002B2CF9AE}" pid="10" name="wcoreunivInformationClassif">
    <vt:lpwstr>7;#Restricted|ea2d4d97-a5a1-45dc-8933-743bf76080a5</vt:lpwstr>
  </property>
  <property fmtid="{D5CDD505-2E9C-101B-9397-08002B2CF9AE}" pid="11" name="wcoreunivSourceLanguage">
    <vt:lpwstr>1;#en|a6062ab0-ab6b-4bf1-82cb-f4fbb1ba5a38</vt:lpwstr>
  </property>
  <property fmtid="{D5CDD505-2E9C-101B-9397-08002B2CF9AE}" pid="12" name="MediaServiceImageTags">
    <vt:lpwstr/>
  </property>
  <property fmtid="{D5CDD505-2E9C-101B-9397-08002B2CF9AE}" pid="13" name="wcoreunivStatus">
    <vt:lpwstr/>
  </property>
</Properties>
</file>